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7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8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9.xml" ContentType="application/vnd.openxmlformats-officedocument.theme+xml"/>
  <Override PartName="/ppt/slideLayouts/slideLayout122.xml" ContentType="application/vnd.openxmlformats-officedocument.presentationml.slideLayout+xml"/>
  <Override PartName="/ppt/theme/theme10.xml" ContentType="application/vnd.openxmlformats-officedocument.theme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2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3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3" r:id="rId1"/>
    <p:sldMasterId id="2147483903" r:id="rId2"/>
    <p:sldMasterId id="2147484025" r:id="rId3"/>
    <p:sldMasterId id="2147484080" r:id="rId4"/>
    <p:sldMasterId id="2147484093" r:id="rId5"/>
    <p:sldMasterId id="2147484165" r:id="rId6"/>
    <p:sldMasterId id="2147484182" r:id="rId7"/>
    <p:sldMasterId id="2147484199" r:id="rId8"/>
    <p:sldMasterId id="2147484369" r:id="rId9"/>
    <p:sldMasterId id="2147484384" r:id="rId10"/>
    <p:sldMasterId id="2147484386" r:id="rId11"/>
    <p:sldMasterId id="2147484388" r:id="rId12"/>
    <p:sldMasterId id="2147484494" r:id="rId13"/>
    <p:sldMasterId id="2147484549" r:id="rId14"/>
  </p:sldMasterIdLst>
  <p:notesMasterIdLst>
    <p:notesMasterId r:id="rId17"/>
  </p:notesMasterIdLst>
  <p:handoutMasterIdLst>
    <p:handoutMasterId r:id="rId18"/>
  </p:handoutMasterIdLst>
  <p:sldIdLst>
    <p:sldId id="3993" r:id="rId15"/>
    <p:sldId id="308" r:id="rId16"/>
  </p:sldIdLst>
  <p:sldSz cx="9144000" cy="6858000" type="screen4x3"/>
  <p:notesSz cx="9926638" cy="14355763"/>
  <p:defaultTextStyle>
    <a:defPPr>
      <a:defRPr lang="sv-S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2" userDrawn="1">
          <p15:clr>
            <a:srgbClr val="A4A3A4"/>
          </p15:clr>
        </p15:guide>
        <p15:guide id="2" pos="312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58A"/>
    <a:srgbClr val="ACD3EB"/>
    <a:srgbClr val="8AC2E6"/>
    <a:srgbClr val="E5E5E5"/>
    <a:srgbClr val="CACCCD"/>
    <a:srgbClr val="D5E9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2675" autoAdjust="0"/>
    <p:restoredTop sz="87544" autoAdjust="0"/>
  </p:normalViewPr>
  <p:slideViewPr>
    <p:cSldViewPr snapToGrid="0" snapToObjects="1">
      <p:cViewPr varScale="1">
        <p:scale>
          <a:sx n="96" d="100"/>
          <a:sy n="96" d="100"/>
        </p:scale>
        <p:origin x="1554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55" d="100"/>
          <a:sy n="55" d="100"/>
        </p:scale>
        <p:origin x="-2856" y="-90"/>
      </p:cViewPr>
      <p:guideLst>
        <p:guide orient="horz" pos="4522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10" Type="http://schemas.openxmlformats.org/officeDocument/2006/relationships/slideMaster" Target="slideMasters/slideMaster10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4301543" cy="717788"/>
          </a:xfrm>
          <a:prstGeom prst="rect">
            <a:avLst/>
          </a:prstGeom>
        </p:spPr>
        <p:txBody>
          <a:bodyPr vert="horz" lIns="134993" tIns="67497" rIns="134993" bIns="67497" rtlCol="0"/>
          <a:lstStyle>
            <a:lvl1pPr algn="l">
              <a:defRPr sz="17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5622799" y="2"/>
            <a:ext cx="4301543" cy="717788"/>
          </a:xfrm>
          <a:prstGeom prst="rect">
            <a:avLst/>
          </a:prstGeom>
        </p:spPr>
        <p:txBody>
          <a:bodyPr vert="horz" lIns="134993" tIns="67497" rIns="134993" bIns="67497" rtlCol="0"/>
          <a:lstStyle>
            <a:lvl1pPr algn="r">
              <a:defRPr sz="1700"/>
            </a:lvl1pPr>
          </a:lstStyle>
          <a:p>
            <a:fld id="{A399C6EC-C360-AC49-81DF-71C4CD6CEFCC}" type="datetimeFigureOut">
              <a:rPr lang="sv-SE" smtClean="0"/>
              <a:pPr/>
              <a:t>2021-11-2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1" y="13635485"/>
            <a:ext cx="4301543" cy="717788"/>
          </a:xfrm>
          <a:prstGeom prst="rect">
            <a:avLst/>
          </a:prstGeom>
        </p:spPr>
        <p:txBody>
          <a:bodyPr vert="horz" lIns="134993" tIns="67497" rIns="134993" bIns="67497" rtlCol="0" anchor="b"/>
          <a:lstStyle>
            <a:lvl1pPr algn="l">
              <a:defRPr sz="17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5622799" y="13635485"/>
            <a:ext cx="4301543" cy="717788"/>
          </a:xfrm>
          <a:prstGeom prst="rect">
            <a:avLst/>
          </a:prstGeom>
        </p:spPr>
        <p:txBody>
          <a:bodyPr vert="horz" lIns="134993" tIns="67497" rIns="134993" bIns="67497" rtlCol="0" anchor="b"/>
          <a:lstStyle>
            <a:lvl1pPr algn="r">
              <a:defRPr sz="1700"/>
            </a:lvl1pPr>
          </a:lstStyle>
          <a:p>
            <a:fld id="{1087AF35-4B4F-7449-98B2-A6D2CC3E8A1E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552521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4301543" cy="717788"/>
          </a:xfrm>
          <a:prstGeom prst="rect">
            <a:avLst/>
          </a:prstGeom>
        </p:spPr>
        <p:txBody>
          <a:bodyPr vert="horz" lIns="134993" tIns="67497" rIns="134993" bIns="67497" rtlCol="0"/>
          <a:lstStyle>
            <a:lvl1pPr algn="l">
              <a:defRPr sz="17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5622799" y="2"/>
            <a:ext cx="4301543" cy="717788"/>
          </a:xfrm>
          <a:prstGeom prst="rect">
            <a:avLst/>
          </a:prstGeom>
        </p:spPr>
        <p:txBody>
          <a:bodyPr vert="horz" lIns="134993" tIns="67497" rIns="134993" bIns="67497" rtlCol="0"/>
          <a:lstStyle>
            <a:lvl1pPr algn="r">
              <a:defRPr sz="1700"/>
            </a:lvl1pPr>
          </a:lstStyle>
          <a:p>
            <a:fld id="{9F22071C-C3BD-3145-AF1D-4D49E91A07CE}" type="datetimeFigureOut">
              <a:rPr lang="sv-SE" smtClean="0"/>
              <a:pPr/>
              <a:t>2021-11-2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076325"/>
            <a:ext cx="7180262" cy="538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4993" tIns="67497" rIns="134993" bIns="67497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992665" y="6818991"/>
            <a:ext cx="7941310" cy="6460093"/>
          </a:xfrm>
          <a:prstGeom prst="rect">
            <a:avLst/>
          </a:prstGeom>
        </p:spPr>
        <p:txBody>
          <a:bodyPr vert="horz" lIns="134993" tIns="67497" rIns="134993" bIns="67497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1" y="13635485"/>
            <a:ext cx="4301543" cy="717788"/>
          </a:xfrm>
          <a:prstGeom prst="rect">
            <a:avLst/>
          </a:prstGeom>
        </p:spPr>
        <p:txBody>
          <a:bodyPr vert="horz" lIns="134993" tIns="67497" rIns="134993" bIns="67497" rtlCol="0" anchor="b"/>
          <a:lstStyle>
            <a:lvl1pPr algn="l">
              <a:defRPr sz="17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5622799" y="13635485"/>
            <a:ext cx="4301543" cy="717788"/>
          </a:xfrm>
          <a:prstGeom prst="rect">
            <a:avLst/>
          </a:prstGeom>
        </p:spPr>
        <p:txBody>
          <a:bodyPr vert="horz" lIns="134993" tIns="67497" rIns="134993" bIns="67497" rtlCol="0" anchor="b"/>
          <a:lstStyle>
            <a:lvl1pPr algn="r">
              <a:defRPr sz="1700"/>
            </a:lvl1pPr>
          </a:lstStyle>
          <a:p>
            <a:fld id="{2DB9D2CB-B69C-DD4C-B64A-68C1B7E64840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51950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>
            <a:extLst>
              <a:ext uri="{FF2B5EF4-FFF2-40B4-BE49-F238E27FC236}">
                <a16:creationId xmlns:a16="http://schemas.microsoft.com/office/drawing/2014/main" id="{25C8E1B6-A732-4363-B4AC-72520AB901C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Notes Placeholder 2">
            <a:extLst>
              <a:ext uri="{FF2B5EF4-FFF2-40B4-BE49-F238E27FC236}">
                <a16:creationId xmlns:a16="http://schemas.microsoft.com/office/drawing/2014/main" id="{60E8BCDF-E115-4892-AD26-980DB4CC9D5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Lägg till den identifierade risken i listan. Numret blir risken ID-nummer. Placera risknumret i matrisen enligt sannolikhet/konsekvens för koncernen.</a:t>
            </a:r>
          </a:p>
        </p:txBody>
      </p:sp>
      <p:sp>
        <p:nvSpPr>
          <p:cNvPr id="27652" name="Slide Number Placeholder 3">
            <a:extLst>
              <a:ext uri="{FF2B5EF4-FFF2-40B4-BE49-F238E27FC236}">
                <a16:creationId xmlns:a16="http://schemas.microsoft.com/office/drawing/2014/main" id="{6DB68BCA-D490-44FD-93D1-F5E33BB9BD2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323975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1pPr>
            <a:lvl2pPr marL="1077913" indent="-414338" defTabSz="1323975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2pPr>
            <a:lvl3pPr marL="1658938" indent="-331788" defTabSz="1323975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3pPr>
            <a:lvl4pPr marL="2322513" indent="-331788" defTabSz="1323975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4pPr>
            <a:lvl5pPr marL="2986088" indent="-331788" defTabSz="1323975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5pPr>
            <a:lvl6pPr marL="3443288" indent="-331788" defTabSz="13239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6pPr>
            <a:lvl7pPr marL="3900488" indent="-331788" defTabSz="13239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7pPr>
            <a:lvl8pPr marL="4357688" indent="-331788" defTabSz="13239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8pPr>
            <a:lvl9pPr marL="4814888" indent="-331788" defTabSz="13239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9pPr>
          </a:lstStyle>
          <a:p>
            <a:fld id="{32790A4F-195D-4454-9B3F-BA24B934249F}" type="slidenum">
              <a:rPr lang="sv-SE" altLang="sv-SE" sz="2600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1</a:t>
            </a:fld>
            <a:endParaRPr lang="sv-SE" altLang="sv-SE" sz="26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>
            <a:extLst>
              <a:ext uri="{FF2B5EF4-FFF2-40B4-BE49-F238E27FC236}">
                <a16:creationId xmlns:a16="http://schemas.microsoft.com/office/drawing/2014/main" id="{6C1E0969-FDE4-49EB-87CB-7ABA99DC811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>
            <a:extLst>
              <a:ext uri="{FF2B5EF4-FFF2-40B4-BE49-F238E27FC236}">
                <a16:creationId xmlns:a16="http://schemas.microsoft.com/office/drawing/2014/main" id="{CCE07E5F-DB5D-4AB4-863E-06D30E34932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sv-SE" altLang="sv-SE"/>
              <a:t>Lägg till den identifierade risken i listan. Numret blir risken ID-nummer. Placera risknumret i matrisen enligt sannolikhet/konsekvens för koncernen.</a:t>
            </a:r>
          </a:p>
        </p:txBody>
      </p:sp>
      <p:sp>
        <p:nvSpPr>
          <p:cNvPr id="25604" name="Slide Number Placeholder 3">
            <a:extLst>
              <a:ext uri="{FF2B5EF4-FFF2-40B4-BE49-F238E27FC236}">
                <a16:creationId xmlns:a16="http://schemas.microsoft.com/office/drawing/2014/main" id="{2FBE5976-5298-427E-9311-C1D7037CD22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anose="020B0503020102020204" pitchFamily="34" charset="0"/>
                <a:cs typeface="Arial" panose="020B0604020202020204" pitchFamily="34" charset="0"/>
              </a:defRPr>
            </a:lvl9pPr>
          </a:lstStyle>
          <a:p>
            <a:fld id="{6D17E928-4863-4D6A-819D-84BB6D1C4BA0}" type="slidenum">
              <a:rPr lang="sv-SE" altLang="sv-SE" sz="1800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2</a:t>
            </a:fld>
            <a:endParaRPr lang="sv-SE" altLang="sv-SE" sz="18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wmf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wmf"/><Relationship Id="rId2" Type="http://schemas.openxmlformats.org/officeDocument/2006/relationships/image" Target="../media/image31.wmf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wmf"/><Relationship Id="rId2" Type="http://schemas.openxmlformats.org/officeDocument/2006/relationships/image" Target="../media/image40.w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9.w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wmf"/><Relationship Id="rId2" Type="http://schemas.openxmlformats.org/officeDocument/2006/relationships/image" Target="../media/image42.wmf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wmf"/><Relationship Id="rId2" Type="http://schemas.openxmlformats.org/officeDocument/2006/relationships/image" Target="../media/image43.wmf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wmf"/><Relationship Id="rId2" Type="http://schemas.openxmlformats.org/officeDocument/2006/relationships/image" Target="../media/image44.wmf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wmf"/><Relationship Id="rId2" Type="http://schemas.openxmlformats.org/officeDocument/2006/relationships/image" Target="../media/image45.wmf"/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wmf"/><Relationship Id="rId2" Type="http://schemas.openxmlformats.org/officeDocument/2006/relationships/image" Target="../media/image46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9.w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wmf"/><Relationship Id="rId2" Type="http://schemas.openxmlformats.org/officeDocument/2006/relationships/image" Target="../media/image48.w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9.wmf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5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3.xml"/><Relationship Id="rId7" Type="http://schemas.openxmlformats.org/officeDocument/2006/relationships/image" Target="../media/image1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Relationship Id="rId9" Type="http://schemas.openxmlformats.org/officeDocument/2006/relationships/image" Target="../media/image18.jpe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image" Target="../media/image17.png"/><Relationship Id="rId4" Type="http://schemas.openxmlformats.org/officeDocument/2006/relationships/tags" Target="../tags/tag17.xml"/><Relationship Id="rId9" Type="http://schemas.openxmlformats.org/officeDocument/2006/relationships/image" Target="../media/image15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image" Target="../media/image19.emf"/><Relationship Id="rId2" Type="http://schemas.openxmlformats.org/officeDocument/2006/relationships/tags" Target="../tags/tag20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34.xml"/><Relationship Id="rId7" Type="http://schemas.openxmlformats.org/officeDocument/2006/relationships/image" Target="../media/image15.emf"/><Relationship Id="rId2" Type="http://schemas.openxmlformats.org/officeDocument/2006/relationships/tags" Target="../tags/tag3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37.xml"/><Relationship Id="rId7" Type="http://schemas.openxmlformats.org/officeDocument/2006/relationships/oleObject" Target="../embeddings/oleObject7.bin"/><Relationship Id="rId2" Type="http://schemas.openxmlformats.org/officeDocument/2006/relationships/tags" Target="../tags/tag36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4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5.emf"/><Relationship Id="rId2" Type="http://schemas.openxmlformats.org/officeDocument/2006/relationships/tags" Target="../tags/tag5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55.xml"/><Relationship Id="rId7" Type="http://schemas.openxmlformats.org/officeDocument/2006/relationships/image" Target="../media/image15.emf"/><Relationship Id="rId2" Type="http://schemas.openxmlformats.org/officeDocument/2006/relationships/tags" Target="../tags/tag54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6.xml"/><Relationship Id="rId9" Type="http://schemas.openxmlformats.org/officeDocument/2006/relationships/image" Target="../media/image18.jpe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5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10" Type="http://schemas.openxmlformats.org/officeDocument/2006/relationships/image" Target="../media/image17.png"/><Relationship Id="rId4" Type="http://schemas.openxmlformats.org/officeDocument/2006/relationships/tags" Target="../tags/tag59.xml"/><Relationship Id="rId9" Type="http://schemas.openxmlformats.org/officeDocument/2006/relationships/image" Target="../media/image1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image" Target="../media/image19.emf"/><Relationship Id="rId2" Type="http://schemas.openxmlformats.org/officeDocument/2006/relationships/tags" Target="../tags/tag62.xml"/><Relationship Id="rId16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76.xml"/><Relationship Id="rId7" Type="http://schemas.openxmlformats.org/officeDocument/2006/relationships/image" Target="../media/image15.emf"/><Relationship Id="rId2" Type="http://schemas.openxmlformats.org/officeDocument/2006/relationships/tags" Target="../tags/tag7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7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79.xml"/><Relationship Id="rId7" Type="http://schemas.openxmlformats.org/officeDocument/2006/relationships/oleObject" Target="../embeddings/oleObject15.bin"/><Relationship Id="rId2" Type="http://schemas.openxmlformats.org/officeDocument/2006/relationships/tags" Target="../tags/tag78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4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wmf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wmf"/><Relationship Id="rId2" Type="http://schemas.openxmlformats.org/officeDocument/2006/relationships/image" Target="../media/image31.w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288000" y="360000"/>
            <a:ext cx="6400800" cy="1172467"/>
          </a:xfrm>
        </p:spPr>
        <p:txBody>
          <a:bodyPr lIns="0" tIns="0" rIns="0" bIns="0" anchor="t" anchorCtr="0">
            <a:noAutofit/>
          </a:bodyPr>
          <a:lstStyle>
            <a:lvl1pPr algn="l">
              <a:defRPr sz="7000" spc="-12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288000" y="1532467"/>
            <a:ext cx="6400800" cy="1752600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None/>
              <a:defRPr sz="27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Underrubrik</a:t>
            </a:r>
          </a:p>
        </p:txBody>
      </p:sp>
      <p:pic>
        <p:nvPicPr>
          <p:cNvPr id="10" name="Bildobjekt 9" descr="GS_logo_ne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000"/>
            <a:ext cx="1331976" cy="359664"/>
          </a:xfrm>
          <a:prstGeom prst="rect">
            <a:avLst/>
          </a:prstGeom>
        </p:spPr>
      </p:pic>
      <p:sp>
        <p:nvSpPr>
          <p:cNvPr id="12" name="textruta 11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>
                <a:solidFill>
                  <a:schemeClr val="bg1"/>
                </a:solidFill>
              </a:rPr>
              <a:t>Vi sätter Göteborg i rörelse</a:t>
            </a:r>
          </a:p>
        </p:txBody>
      </p:sp>
    </p:spTree>
    <p:extLst>
      <p:ext uri="{BB962C8B-B14F-4D97-AF65-F5344CB8AC3E}">
        <p14:creationId xmlns:p14="http://schemas.microsoft.com/office/powerpoint/2010/main" val="1932198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Rubrik och innehåll">
    <p:bg>
      <p:bgPr>
        <a:solidFill>
          <a:srgbClr val="8AC2E6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374" y="8467"/>
            <a:ext cx="4329626" cy="5767198"/>
          </a:xfrm>
          <a:prstGeom prst="rect">
            <a:avLst/>
          </a:prstGeom>
        </p:spPr>
      </p:pic>
      <p:sp>
        <p:nvSpPr>
          <p:cNvPr id="15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31875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6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3187533" cy="4166998"/>
          </a:xfrm>
        </p:spPr>
        <p:txBody>
          <a:bodyPr/>
          <a:lstStyle>
            <a:lvl1pPr>
              <a:defRPr sz="2800" baseline="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8268174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F12769C-ECF3-448E-A565-83EEEC398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37030" y="2300663"/>
            <a:ext cx="1069941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8043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sp>
        <p:nvSpPr>
          <p:cNvPr id="9" name="Rectangle 1"/>
          <p:cNvSpPr>
            <a:spLocks noChangeAspect="1"/>
          </p:cNvSpPr>
          <p:nvPr userDrawn="1"/>
        </p:nvSpPr>
        <p:spPr>
          <a:xfrm>
            <a:off x="1932781" y="777240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150725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92" r="5382" b="9049"/>
          <a:stretch/>
        </p:blipFill>
        <p:spPr>
          <a:xfrm flipH="1">
            <a:off x="-38100" y="1"/>
            <a:ext cx="9201150" cy="6877050"/>
          </a:xfrm>
          <a:prstGeom prst="rect">
            <a:avLst/>
          </a:prstGeom>
        </p:spPr>
      </p:pic>
      <p:sp>
        <p:nvSpPr>
          <p:cNvPr id="8" name="Rectangle 1"/>
          <p:cNvSpPr>
            <a:spLocks noChangeAspect="1"/>
          </p:cNvSpPr>
          <p:nvPr userDrawn="1"/>
        </p:nvSpPr>
        <p:spPr>
          <a:xfrm>
            <a:off x="3385622" y="1915816"/>
            <a:ext cx="5304410" cy="2669967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2273250" y="2092518"/>
            <a:ext cx="5490000" cy="860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273250" y="3088214"/>
            <a:ext cx="5490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3" name="Group 4"/>
          <p:cNvGrpSpPr>
            <a:grpSpLocks noChangeAspect="1"/>
          </p:cNvGrpSpPr>
          <p:nvPr userDrawn="1"/>
        </p:nvGrpSpPr>
        <p:grpSpPr bwMode="auto">
          <a:xfrm>
            <a:off x="7763250" y="5132135"/>
            <a:ext cx="1069975" cy="1254125"/>
            <a:chOff x="5798" y="3701"/>
            <a:chExt cx="674" cy="790"/>
          </a:xfrm>
        </p:grpSpPr>
        <p:sp>
          <p:nvSpPr>
            <p:cNvPr id="1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5798" y="3701"/>
              <a:ext cx="674" cy="7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5"/>
            <p:cNvSpPr>
              <a:spLocks/>
            </p:cNvSpPr>
            <p:nvPr userDrawn="1"/>
          </p:nvSpPr>
          <p:spPr bwMode="auto">
            <a:xfrm>
              <a:off x="5798" y="3701"/>
              <a:ext cx="540" cy="197"/>
            </a:xfrm>
            <a:custGeom>
              <a:avLst/>
              <a:gdLst>
                <a:gd name="T0" fmla="*/ 2161 w 2161"/>
                <a:gd name="T1" fmla="*/ 0 h 788"/>
                <a:gd name="T2" fmla="*/ 0 w 2161"/>
                <a:gd name="T3" fmla="*/ 788 h 788"/>
                <a:gd name="T4" fmla="*/ 2161 w 2161"/>
                <a:gd name="T5" fmla="*/ 407 h 788"/>
                <a:gd name="T6" fmla="*/ 2161 w 2161"/>
                <a:gd name="T7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1" h="788">
                  <a:moveTo>
                    <a:pt x="2161" y="0"/>
                  </a:moveTo>
                  <a:lnTo>
                    <a:pt x="0" y="788"/>
                  </a:lnTo>
                  <a:lnTo>
                    <a:pt x="2161" y="407"/>
                  </a:lnTo>
                  <a:lnTo>
                    <a:pt x="2161" y="0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/>
            <p:cNvSpPr>
              <a:spLocks noEditPoints="1"/>
            </p:cNvSpPr>
            <p:nvPr userDrawn="1"/>
          </p:nvSpPr>
          <p:spPr bwMode="auto">
            <a:xfrm>
              <a:off x="5798" y="3980"/>
              <a:ext cx="674" cy="511"/>
            </a:xfrm>
            <a:custGeom>
              <a:avLst/>
              <a:gdLst>
                <a:gd name="T0" fmla="*/ 198 w 2696"/>
                <a:gd name="T1" fmla="*/ 1381 h 2043"/>
                <a:gd name="T2" fmla="*/ 225 w 2696"/>
                <a:gd name="T3" fmla="*/ 1539 h 2043"/>
                <a:gd name="T4" fmla="*/ 132 w 2696"/>
                <a:gd name="T5" fmla="*/ 1580 h 2043"/>
                <a:gd name="T6" fmla="*/ 258 w 2696"/>
                <a:gd name="T7" fmla="*/ 1430 h 2043"/>
                <a:gd name="T8" fmla="*/ 377 w 2696"/>
                <a:gd name="T9" fmla="*/ 1624 h 2043"/>
                <a:gd name="T10" fmla="*/ 990 w 2696"/>
                <a:gd name="T11" fmla="*/ 1430 h 2043"/>
                <a:gd name="T12" fmla="*/ 1062 w 2696"/>
                <a:gd name="T13" fmla="*/ 1506 h 2043"/>
                <a:gd name="T14" fmla="*/ 559 w 2696"/>
                <a:gd name="T15" fmla="*/ 1373 h 2043"/>
                <a:gd name="T16" fmla="*/ 643 w 2696"/>
                <a:gd name="T17" fmla="*/ 1503 h 2043"/>
                <a:gd name="T18" fmla="*/ 760 w 2696"/>
                <a:gd name="T19" fmla="*/ 1373 h 2043"/>
                <a:gd name="T20" fmla="*/ 743 w 2696"/>
                <a:gd name="T21" fmla="*/ 1474 h 2043"/>
                <a:gd name="T22" fmla="*/ 1765 w 2696"/>
                <a:gd name="T23" fmla="*/ 1611 h 2043"/>
                <a:gd name="T24" fmla="*/ 1867 w 2696"/>
                <a:gd name="T25" fmla="*/ 1459 h 2043"/>
                <a:gd name="T26" fmla="*/ 1830 w 2696"/>
                <a:gd name="T27" fmla="*/ 1562 h 2043"/>
                <a:gd name="T28" fmla="*/ 1218 w 2696"/>
                <a:gd name="T29" fmla="*/ 1426 h 2043"/>
                <a:gd name="T30" fmla="*/ 1185 w 2696"/>
                <a:gd name="T31" fmla="*/ 1622 h 2043"/>
                <a:gd name="T32" fmla="*/ 1216 w 2696"/>
                <a:gd name="T33" fmla="*/ 1704 h 2043"/>
                <a:gd name="T34" fmla="*/ 1238 w 2696"/>
                <a:gd name="T35" fmla="*/ 1583 h 2043"/>
                <a:gd name="T36" fmla="*/ 1245 w 2696"/>
                <a:gd name="T37" fmla="*/ 1474 h 2043"/>
                <a:gd name="T38" fmla="*/ 1512 w 2696"/>
                <a:gd name="T39" fmla="*/ 1498 h 2043"/>
                <a:gd name="T40" fmla="*/ 1484 w 2696"/>
                <a:gd name="T41" fmla="*/ 1628 h 2043"/>
                <a:gd name="T42" fmla="*/ 1440 w 2696"/>
                <a:gd name="T43" fmla="*/ 1445 h 2043"/>
                <a:gd name="T44" fmla="*/ 1505 w 2696"/>
                <a:gd name="T45" fmla="*/ 1590 h 2043"/>
                <a:gd name="T46" fmla="*/ 2075 w 2696"/>
                <a:gd name="T47" fmla="*/ 1542 h 2043"/>
                <a:gd name="T48" fmla="*/ 1952 w 2696"/>
                <a:gd name="T49" fmla="*/ 1438 h 2043"/>
                <a:gd name="T50" fmla="*/ 1961 w 2696"/>
                <a:gd name="T51" fmla="*/ 1622 h 2043"/>
                <a:gd name="T52" fmla="*/ 1993 w 2696"/>
                <a:gd name="T53" fmla="*/ 1467 h 2043"/>
                <a:gd name="T54" fmla="*/ 2420 w 2696"/>
                <a:gd name="T55" fmla="*/ 1542 h 2043"/>
                <a:gd name="T56" fmla="*/ 2422 w 2696"/>
                <a:gd name="T57" fmla="*/ 1434 h 2043"/>
                <a:gd name="T58" fmla="*/ 2416 w 2696"/>
                <a:gd name="T59" fmla="*/ 1618 h 2043"/>
                <a:gd name="T60" fmla="*/ 2449 w 2696"/>
                <a:gd name="T61" fmla="*/ 1467 h 2043"/>
                <a:gd name="T62" fmla="*/ 2353 w 2696"/>
                <a:gd name="T63" fmla="*/ 1575 h 2043"/>
                <a:gd name="T64" fmla="*/ 2348 w 2696"/>
                <a:gd name="T65" fmla="*/ 1475 h 2043"/>
                <a:gd name="T66" fmla="*/ 2167 w 2696"/>
                <a:gd name="T67" fmla="*/ 1430 h 2043"/>
                <a:gd name="T68" fmla="*/ 2652 w 2696"/>
                <a:gd name="T69" fmla="*/ 1474 h 2043"/>
                <a:gd name="T70" fmla="*/ 2684 w 2696"/>
                <a:gd name="T71" fmla="*/ 1485 h 2043"/>
                <a:gd name="T72" fmla="*/ 2174 w 2696"/>
                <a:gd name="T73" fmla="*/ 1765 h 2043"/>
                <a:gd name="T74" fmla="*/ 2142 w 2696"/>
                <a:gd name="T75" fmla="*/ 1962 h 2043"/>
                <a:gd name="T76" fmla="*/ 2147 w 2696"/>
                <a:gd name="T77" fmla="*/ 1864 h 2043"/>
                <a:gd name="T78" fmla="*/ 2183 w 2696"/>
                <a:gd name="T79" fmla="*/ 1925 h 2043"/>
                <a:gd name="T80" fmla="*/ 539 w 2696"/>
                <a:gd name="T81" fmla="*/ 1770 h 2043"/>
                <a:gd name="T82" fmla="*/ 68 w 2696"/>
                <a:gd name="T83" fmla="*/ 1842 h 2043"/>
                <a:gd name="T84" fmla="*/ 298 w 2696"/>
                <a:gd name="T85" fmla="*/ 1788 h 2043"/>
                <a:gd name="T86" fmla="*/ 336 w 2696"/>
                <a:gd name="T87" fmla="*/ 1967 h 2043"/>
                <a:gd name="T88" fmla="*/ 436 w 2696"/>
                <a:gd name="T89" fmla="*/ 1826 h 2043"/>
                <a:gd name="T90" fmla="*/ 315 w 2696"/>
                <a:gd name="T91" fmla="*/ 1868 h 2043"/>
                <a:gd name="T92" fmla="*/ 371 w 2696"/>
                <a:gd name="T93" fmla="*/ 1919 h 2043"/>
                <a:gd name="T94" fmla="*/ 1915 w 2696"/>
                <a:gd name="T95" fmla="*/ 1786 h 2043"/>
                <a:gd name="T96" fmla="*/ 1394 w 2696"/>
                <a:gd name="T97" fmla="*/ 1770 h 2043"/>
                <a:gd name="T98" fmla="*/ 1705 w 2696"/>
                <a:gd name="T99" fmla="*/ 1777 h 2043"/>
                <a:gd name="T100" fmla="*/ 1713 w 2696"/>
                <a:gd name="T101" fmla="*/ 1961 h 2043"/>
                <a:gd name="T102" fmla="*/ 1835 w 2696"/>
                <a:gd name="T103" fmla="*/ 1846 h 2043"/>
                <a:gd name="T104" fmla="*/ 1710 w 2696"/>
                <a:gd name="T105" fmla="*/ 1879 h 2043"/>
                <a:gd name="T106" fmla="*/ 1777 w 2696"/>
                <a:gd name="T107" fmla="*/ 1909 h 2043"/>
                <a:gd name="T108" fmla="*/ 958 w 2696"/>
                <a:gd name="T109" fmla="*/ 1770 h 2043"/>
                <a:gd name="T110" fmla="*/ 1030 w 2696"/>
                <a:gd name="T111" fmla="*/ 1846 h 2043"/>
                <a:gd name="T112" fmla="*/ 1187 w 2696"/>
                <a:gd name="T113" fmla="*/ 1765 h 2043"/>
                <a:gd name="T114" fmla="*/ 1161 w 2696"/>
                <a:gd name="T115" fmla="*/ 1965 h 2043"/>
                <a:gd name="T116" fmla="*/ 1183 w 2696"/>
                <a:gd name="T117" fmla="*/ 2043 h 2043"/>
                <a:gd name="T118" fmla="*/ 1201 w 2696"/>
                <a:gd name="T119" fmla="*/ 1923 h 2043"/>
                <a:gd name="T120" fmla="*/ 1217 w 2696"/>
                <a:gd name="T121" fmla="*/ 1816 h 2043"/>
                <a:gd name="T122" fmla="*/ 741 w 2696"/>
                <a:gd name="T123" fmla="*/ 432 h 2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6" h="2043">
                  <a:moveTo>
                    <a:pt x="225" y="1539"/>
                  </a:moveTo>
                  <a:lnTo>
                    <a:pt x="225" y="1539"/>
                  </a:lnTo>
                  <a:lnTo>
                    <a:pt x="223" y="1527"/>
                  </a:lnTo>
                  <a:lnTo>
                    <a:pt x="221" y="1515"/>
                  </a:lnTo>
                  <a:lnTo>
                    <a:pt x="215" y="1506"/>
                  </a:lnTo>
                  <a:lnTo>
                    <a:pt x="210" y="1499"/>
                  </a:lnTo>
                  <a:lnTo>
                    <a:pt x="203" y="1493"/>
                  </a:lnTo>
                  <a:lnTo>
                    <a:pt x="197" y="1487"/>
                  </a:lnTo>
                  <a:lnTo>
                    <a:pt x="185" y="1481"/>
                  </a:lnTo>
                  <a:lnTo>
                    <a:pt x="185" y="1481"/>
                  </a:lnTo>
                  <a:lnTo>
                    <a:pt x="191" y="1477"/>
                  </a:lnTo>
                  <a:lnTo>
                    <a:pt x="197" y="1471"/>
                  </a:lnTo>
                  <a:lnTo>
                    <a:pt x="202" y="1466"/>
                  </a:lnTo>
                  <a:lnTo>
                    <a:pt x="207" y="1459"/>
                  </a:lnTo>
                  <a:lnTo>
                    <a:pt x="210" y="1451"/>
                  </a:lnTo>
                  <a:lnTo>
                    <a:pt x="213" y="1445"/>
                  </a:lnTo>
                  <a:lnTo>
                    <a:pt x="215" y="1437"/>
                  </a:lnTo>
                  <a:lnTo>
                    <a:pt x="215" y="1427"/>
                  </a:lnTo>
                  <a:lnTo>
                    <a:pt x="215" y="1427"/>
                  </a:lnTo>
                  <a:lnTo>
                    <a:pt x="214" y="1413"/>
                  </a:lnTo>
                  <a:lnTo>
                    <a:pt x="210" y="1398"/>
                  </a:lnTo>
                  <a:lnTo>
                    <a:pt x="206" y="1393"/>
                  </a:lnTo>
                  <a:lnTo>
                    <a:pt x="203" y="1386"/>
                  </a:lnTo>
                  <a:lnTo>
                    <a:pt x="198" y="1381"/>
                  </a:lnTo>
                  <a:lnTo>
                    <a:pt x="194" y="1377"/>
                  </a:lnTo>
                  <a:lnTo>
                    <a:pt x="182" y="1369"/>
                  </a:lnTo>
                  <a:lnTo>
                    <a:pt x="167" y="1364"/>
                  </a:lnTo>
                  <a:lnTo>
                    <a:pt x="151" y="1360"/>
                  </a:lnTo>
                  <a:lnTo>
                    <a:pt x="133" y="1358"/>
                  </a:lnTo>
                  <a:lnTo>
                    <a:pt x="20" y="1358"/>
                  </a:lnTo>
                  <a:lnTo>
                    <a:pt x="20" y="1624"/>
                  </a:lnTo>
                  <a:lnTo>
                    <a:pt x="132" y="1624"/>
                  </a:lnTo>
                  <a:lnTo>
                    <a:pt x="132" y="1624"/>
                  </a:lnTo>
                  <a:lnTo>
                    <a:pt x="151" y="1623"/>
                  </a:lnTo>
                  <a:lnTo>
                    <a:pt x="162" y="1622"/>
                  </a:lnTo>
                  <a:lnTo>
                    <a:pt x="170" y="1619"/>
                  </a:lnTo>
                  <a:lnTo>
                    <a:pt x="178" y="1616"/>
                  </a:lnTo>
                  <a:lnTo>
                    <a:pt x="186" y="1612"/>
                  </a:lnTo>
                  <a:lnTo>
                    <a:pt x="193" y="1607"/>
                  </a:lnTo>
                  <a:lnTo>
                    <a:pt x="199" y="1602"/>
                  </a:lnTo>
                  <a:lnTo>
                    <a:pt x="205" y="1596"/>
                  </a:lnTo>
                  <a:lnTo>
                    <a:pt x="210" y="1590"/>
                  </a:lnTo>
                  <a:lnTo>
                    <a:pt x="214" y="1583"/>
                  </a:lnTo>
                  <a:lnTo>
                    <a:pt x="218" y="1575"/>
                  </a:lnTo>
                  <a:lnTo>
                    <a:pt x="221" y="1567"/>
                  </a:lnTo>
                  <a:lnTo>
                    <a:pt x="223" y="1559"/>
                  </a:lnTo>
                  <a:lnTo>
                    <a:pt x="223" y="1550"/>
                  </a:lnTo>
                  <a:lnTo>
                    <a:pt x="225" y="1539"/>
                  </a:lnTo>
                  <a:lnTo>
                    <a:pt x="225" y="1539"/>
                  </a:lnTo>
                  <a:close/>
                  <a:moveTo>
                    <a:pt x="132" y="1580"/>
                  </a:moveTo>
                  <a:lnTo>
                    <a:pt x="69" y="1580"/>
                  </a:lnTo>
                  <a:lnTo>
                    <a:pt x="69" y="1505"/>
                  </a:lnTo>
                  <a:lnTo>
                    <a:pt x="132" y="1505"/>
                  </a:lnTo>
                  <a:lnTo>
                    <a:pt x="132" y="1505"/>
                  </a:lnTo>
                  <a:lnTo>
                    <a:pt x="141" y="1505"/>
                  </a:lnTo>
                  <a:lnTo>
                    <a:pt x="149" y="1506"/>
                  </a:lnTo>
                  <a:lnTo>
                    <a:pt x="157" y="1510"/>
                  </a:lnTo>
                  <a:lnTo>
                    <a:pt x="162" y="1514"/>
                  </a:lnTo>
                  <a:lnTo>
                    <a:pt x="166" y="1519"/>
                  </a:lnTo>
                  <a:lnTo>
                    <a:pt x="170" y="1526"/>
                  </a:lnTo>
                  <a:lnTo>
                    <a:pt x="171" y="1533"/>
                  </a:lnTo>
                  <a:lnTo>
                    <a:pt x="171" y="1542"/>
                  </a:lnTo>
                  <a:lnTo>
                    <a:pt x="171" y="1542"/>
                  </a:lnTo>
                  <a:lnTo>
                    <a:pt x="171" y="1550"/>
                  </a:lnTo>
                  <a:lnTo>
                    <a:pt x="169" y="1558"/>
                  </a:lnTo>
                  <a:lnTo>
                    <a:pt x="166" y="1564"/>
                  </a:lnTo>
                  <a:lnTo>
                    <a:pt x="161" y="1570"/>
                  </a:lnTo>
                  <a:lnTo>
                    <a:pt x="155" y="1574"/>
                  </a:lnTo>
                  <a:lnTo>
                    <a:pt x="149" y="1578"/>
                  </a:lnTo>
                  <a:lnTo>
                    <a:pt x="141" y="1579"/>
                  </a:lnTo>
                  <a:lnTo>
                    <a:pt x="132" y="1580"/>
                  </a:lnTo>
                  <a:lnTo>
                    <a:pt x="132" y="1580"/>
                  </a:lnTo>
                  <a:close/>
                  <a:moveTo>
                    <a:pt x="132" y="1461"/>
                  </a:moveTo>
                  <a:lnTo>
                    <a:pt x="69" y="1461"/>
                  </a:lnTo>
                  <a:lnTo>
                    <a:pt x="69" y="1404"/>
                  </a:lnTo>
                  <a:lnTo>
                    <a:pt x="129" y="1404"/>
                  </a:lnTo>
                  <a:lnTo>
                    <a:pt x="129" y="1404"/>
                  </a:lnTo>
                  <a:lnTo>
                    <a:pt x="137" y="1405"/>
                  </a:lnTo>
                  <a:lnTo>
                    <a:pt x="144" y="1406"/>
                  </a:lnTo>
                  <a:lnTo>
                    <a:pt x="150" y="1408"/>
                  </a:lnTo>
                  <a:lnTo>
                    <a:pt x="155" y="1412"/>
                  </a:lnTo>
                  <a:lnTo>
                    <a:pt x="158" y="1416"/>
                  </a:lnTo>
                  <a:lnTo>
                    <a:pt x="162" y="1420"/>
                  </a:lnTo>
                  <a:lnTo>
                    <a:pt x="163" y="1426"/>
                  </a:lnTo>
                  <a:lnTo>
                    <a:pt x="163" y="1433"/>
                  </a:lnTo>
                  <a:lnTo>
                    <a:pt x="163" y="1433"/>
                  </a:lnTo>
                  <a:lnTo>
                    <a:pt x="162" y="1442"/>
                  </a:lnTo>
                  <a:lnTo>
                    <a:pt x="161" y="1447"/>
                  </a:lnTo>
                  <a:lnTo>
                    <a:pt x="158" y="1451"/>
                  </a:lnTo>
                  <a:lnTo>
                    <a:pt x="153" y="1455"/>
                  </a:lnTo>
                  <a:lnTo>
                    <a:pt x="147" y="1458"/>
                  </a:lnTo>
                  <a:lnTo>
                    <a:pt x="141" y="1459"/>
                  </a:lnTo>
                  <a:lnTo>
                    <a:pt x="132" y="1461"/>
                  </a:lnTo>
                  <a:lnTo>
                    <a:pt x="132" y="1461"/>
                  </a:lnTo>
                  <a:close/>
                  <a:moveTo>
                    <a:pt x="258" y="1540"/>
                  </a:moveTo>
                  <a:lnTo>
                    <a:pt x="258" y="1430"/>
                  </a:lnTo>
                  <a:lnTo>
                    <a:pt x="306" y="1430"/>
                  </a:lnTo>
                  <a:lnTo>
                    <a:pt x="306" y="1538"/>
                  </a:lnTo>
                  <a:lnTo>
                    <a:pt x="306" y="1538"/>
                  </a:lnTo>
                  <a:lnTo>
                    <a:pt x="307" y="1548"/>
                  </a:lnTo>
                  <a:lnTo>
                    <a:pt x="308" y="1559"/>
                  </a:lnTo>
                  <a:lnTo>
                    <a:pt x="311" y="1567"/>
                  </a:lnTo>
                  <a:lnTo>
                    <a:pt x="315" y="1574"/>
                  </a:lnTo>
                  <a:lnTo>
                    <a:pt x="320" y="1579"/>
                  </a:lnTo>
                  <a:lnTo>
                    <a:pt x="326" y="1582"/>
                  </a:lnTo>
                  <a:lnTo>
                    <a:pt x="334" y="1584"/>
                  </a:lnTo>
                  <a:lnTo>
                    <a:pt x="341" y="1584"/>
                  </a:lnTo>
                  <a:lnTo>
                    <a:pt x="341" y="1584"/>
                  </a:lnTo>
                  <a:lnTo>
                    <a:pt x="351" y="1584"/>
                  </a:lnTo>
                  <a:lnTo>
                    <a:pt x="357" y="1582"/>
                  </a:lnTo>
                  <a:lnTo>
                    <a:pt x="364" y="1578"/>
                  </a:lnTo>
                  <a:lnTo>
                    <a:pt x="369" y="1574"/>
                  </a:lnTo>
                  <a:lnTo>
                    <a:pt x="373" y="1567"/>
                  </a:lnTo>
                  <a:lnTo>
                    <a:pt x="376" y="1558"/>
                  </a:lnTo>
                  <a:lnTo>
                    <a:pt x="377" y="1548"/>
                  </a:lnTo>
                  <a:lnTo>
                    <a:pt x="377" y="1538"/>
                  </a:lnTo>
                  <a:lnTo>
                    <a:pt x="377" y="1430"/>
                  </a:lnTo>
                  <a:lnTo>
                    <a:pt x="427" y="1430"/>
                  </a:lnTo>
                  <a:lnTo>
                    <a:pt x="427" y="1624"/>
                  </a:lnTo>
                  <a:lnTo>
                    <a:pt x="377" y="1624"/>
                  </a:lnTo>
                  <a:lnTo>
                    <a:pt x="377" y="1610"/>
                  </a:lnTo>
                  <a:lnTo>
                    <a:pt x="377" y="1610"/>
                  </a:lnTo>
                  <a:lnTo>
                    <a:pt x="368" y="1618"/>
                  </a:lnTo>
                  <a:lnTo>
                    <a:pt x="357" y="1624"/>
                  </a:lnTo>
                  <a:lnTo>
                    <a:pt x="345" y="1628"/>
                  </a:lnTo>
                  <a:lnTo>
                    <a:pt x="331" y="1630"/>
                  </a:lnTo>
                  <a:lnTo>
                    <a:pt x="331" y="1630"/>
                  </a:lnTo>
                  <a:lnTo>
                    <a:pt x="320" y="1628"/>
                  </a:lnTo>
                  <a:lnTo>
                    <a:pt x="310" y="1627"/>
                  </a:lnTo>
                  <a:lnTo>
                    <a:pt x="302" y="1624"/>
                  </a:lnTo>
                  <a:lnTo>
                    <a:pt x="294" y="1620"/>
                  </a:lnTo>
                  <a:lnTo>
                    <a:pt x="286" y="1615"/>
                  </a:lnTo>
                  <a:lnTo>
                    <a:pt x="280" y="1610"/>
                  </a:lnTo>
                  <a:lnTo>
                    <a:pt x="275" y="1603"/>
                  </a:lnTo>
                  <a:lnTo>
                    <a:pt x="271" y="1598"/>
                  </a:lnTo>
                  <a:lnTo>
                    <a:pt x="264" y="1583"/>
                  </a:lnTo>
                  <a:lnTo>
                    <a:pt x="260" y="1568"/>
                  </a:lnTo>
                  <a:lnTo>
                    <a:pt x="259" y="1554"/>
                  </a:lnTo>
                  <a:lnTo>
                    <a:pt x="258" y="1540"/>
                  </a:lnTo>
                  <a:lnTo>
                    <a:pt x="258" y="1540"/>
                  </a:lnTo>
                  <a:close/>
                  <a:moveTo>
                    <a:pt x="990" y="1624"/>
                  </a:moveTo>
                  <a:lnTo>
                    <a:pt x="942" y="1624"/>
                  </a:lnTo>
                  <a:lnTo>
                    <a:pt x="942" y="1430"/>
                  </a:lnTo>
                  <a:lnTo>
                    <a:pt x="990" y="1430"/>
                  </a:lnTo>
                  <a:lnTo>
                    <a:pt x="990" y="1447"/>
                  </a:lnTo>
                  <a:lnTo>
                    <a:pt x="990" y="1447"/>
                  </a:lnTo>
                  <a:lnTo>
                    <a:pt x="1001" y="1438"/>
                  </a:lnTo>
                  <a:lnTo>
                    <a:pt x="1011" y="1431"/>
                  </a:lnTo>
                  <a:lnTo>
                    <a:pt x="1024" y="1427"/>
                  </a:lnTo>
                  <a:lnTo>
                    <a:pt x="1039" y="1426"/>
                  </a:lnTo>
                  <a:lnTo>
                    <a:pt x="1039" y="1426"/>
                  </a:lnTo>
                  <a:lnTo>
                    <a:pt x="1055" y="1427"/>
                  </a:lnTo>
                  <a:lnTo>
                    <a:pt x="1063" y="1429"/>
                  </a:lnTo>
                  <a:lnTo>
                    <a:pt x="1070" y="1431"/>
                  </a:lnTo>
                  <a:lnTo>
                    <a:pt x="1076" y="1435"/>
                  </a:lnTo>
                  <a:lnTo>
                    <a:pt x="1082" y="1439"/>
                  </a:lnTo>
                  <a:lnTo>
                    <a:pt x="1087" y="1443"/>
                  </a:lnTo>
                  <a:lnTo>
                    <a:pt x="1092" y="1449"/>
                  </a:lnTo>
                  <a:lnTo>
                    <a:pt x="1096" y="1455"/>
                  </a:lnTo>
                  <a:lnTo>
                    <a:pt x="1100" y="1461"/>
                  </a:lnTo>
                  <a:lnTo>
                    <a:pt x="1106" y="1477"/>
                  </a:lnTo>
                  <a:lnTo>
                    <a:pt x="1109" y="1494"/>
                  </a:lnTo>
                  <a:lnTo>
                    <a:pt x="1109" y="1515"/>
                  </a:lnTo>
                  <a:lnTo>
                    <a:pt x="1109" y="1624"/>
                  </a:lnTo>
                  <a:lnTo>
                    <a:pt x="1062" y="1624"/>
                  </a:lnTo>
                  <a:lnTo>
                    <a:pt x="1062" y="1518"/>
                  </a:lnTo>
                  <a:lnTo>
                    <a:pt x="1062" y="1518"/>
                  </a:lnTo>
                  <a:lnTo>
                    <a:pt x="1062" y="1506"/>
                  </a:lnTo>
                  <a:lnTo>
                    <a:pt x="1060" y="1497"/>
                  </a:lnTo>
                  <a:lnTo>
                    <a:pt x="1058" y="1489"/>
                  </a:lnTo>
                  <a:lnTo>
                    <a:pt x="1054" y="1482"/>
                  </a:lnTo>
                  <a:lnTo>
                    <a:pt x="1048" y="1477"/>
                  </a:lnTo>
                  <a:lnTo>
                    <a:pt x="1043" y="1473"/>
                  </a:lnTo>
                  <a:lnTo>
                    <a:pt x="1035" y="1471"/>
                  </a:lnTo>
                  <a:lnTo>
                    <a:pt x="1027" y="1470"/>
                  </a:lnTo>
                  <a:lnTo>
                    <a:pt x="1027" y="1470"/>
                  </a:lnTo>
                  <a:lnTo>
                    <a:pt x="1019" y="1471"/>
                  </a:lnTo>
                  <a:lnTo>
                    <a:pt x="1011" y="1473"/>
                  </a:lnTo>
                  <a:lnTo>
                    <a:pt x="1005" y="1477"/>
                  </a:lnTo>
                  <a:lnTo>
                    <a:pt x="999" y="1482"/>
                  </a:lnTo>
                  <a:lnTo>
                    <a:pt x="995" y="1489"/>
                  </a:lnTo>
                  <a:lnTo>
                    <a:pt x="993" y="1497"/>
                  </a:lnTo>
                  <a:lnTo>
                    <a:pt x="991" y="1506"/>
                  </a:lnTo>
                  <a:lnTo>
                    <a:pt x="990" y="1518"/>
                  </a:lnTo>
                  <a:lnTo>
                    <a:pt x="990" y="1624"/>
                  </a:lnTo>
                  <a:close/>
                  <a:moveTo>
                    <a:pt x="517" y="1517"/>
                  </a:moveTo>
                  <a:lnTo>
                    <a:pt x="517" y="1624"/>
                  </a:lnTo>
                  <a:lnTo>
                    <a:pt x="469" y="1624"/>
                  </a:lnTo>
                  <a:lnTo>
                    <a:pt x="469" y="1430"/>
                  </a:lnTo>
                  <a:lnTo>
                    <a:pt x="517" y="1430"/>
                  </a:lnTo>
                  <a:lnTo>
                    <a:pt x="517" y="1517"/>
                  </a:lnTo>
                  <a:close/>
                  <a:moveTo>
                    <a:pt x="559" y="1373"/>
                  </a:moveTo>
                  <a:lnTo>
                    <a:pt x="607" y="1349"/>
                  </a:lnTo>
                  <a:lnTo>
                    <a:pt x="607" y="1514"/>
                  </a:lnTo>
                  <a:lnTo>
                    <a:pt x="607" y="1624"/>
                  </a:lnTo>
                  <a:lnTo>
                    <a:pt x="559" y="1624"/>
                  </a:lnTo>
                  <a:lnTo>
                    <a:pt x="559" y="1373"/>
                  </a:lnTo>
                  <a:close/>
                  <a:moveTo>
                    <a:pt x="760" y="1445"/>
                  </a:moveTo>
                  <a:lnTo>
                    <a:pt x="760" y="1445"/>
                  </a:lnTo>
                  <a:lnTo>
                    <a:pt x="751" y="1437"/>
                  </a:lnTo>
                  <a:lnTo>
                    <a:pt x="740" y="1430"/>
                  </a:lnTo>
                  <a:lnTo>
                    <a:pt x="729" y="1427"/>
                  </a:lnTo>
                  <a:lnTo>
                    <a:pt x="718" y="1426"/>
                  </a:lnTo>
                  <a:lnTo>
                    <a:pt x="718" y="1426"/>
                  </a:lnTo>
                  <a:lnTo>
                    <a:pt x="708" y="1426"/>
                  </a:lnTo>
                  <a:lnTo>
                    <a:pt x="700" y="1427"/>
                  </a:lnTo>
                  <a:lnTo>
                    <a:pt x="692" y="1430"/>
                  </a:lnTo>
                  <a:lnTo>
                    <a:pt x="686" y="1433"/>
                  </a:lnTo>
                  <a:lnTo>
                    <a:pt x="679" y="1437"/>
                  </a:lnTo>
                  <a:lnTo>
                    <a:pt x="672" y="1442"/>
                  </a:lnTo>
                  <a:lnTo>
                    <a:pt x="667" y="1447"/>
                  </a:lnTo>
                  <a:lnTo>
                    <a:pt x="662" y="1453"/>
                  </a:lnTo>
                  <a:lnTo>
                    <a:pt x="656" y="1459"/>
                  </a:lnTo>
                  <a:lnTo>
                    <a:pt x="652" y="1467"/>
                  </a:lnTo>
                  <a:lnTo>
                    <a:pt x="647" y="1485"/>
                  </a:lnTo>
                  <a:lnTo>
                    <a:pt x="643" y="1503"/>
                  </a:lnTo>
                  <a:lnTo>
                    <a:pt x="642" y="1526"/>
                  </a:lnTo>
                  <a:lnTo>
                    <a:pt x="642" y="1526"/>
                  </a:lnTo>
                  <a:lnTo>
                    <a:pt x="643" y="1548"/>
                  </a:lnTo>
                  <a:lnTo>
                    <a:pt x="646" y="1570"/>
                  </a:lnTo>
                  <a:lnTo>
                    <a:pt x="652" y="1587"/>
                  </a:lnTo>
                  <a:lnTo>
                    <a:pt x="656" y="1595"/>
                  </a:lnTo>
                  <a:lnTo>
                    <a:pt x="662" y="1602"/>
                  </a:lnTo>
                  <a:lnTo>
                    <a:pt x="666" y="1608"/>
                  </a:lnTo>
                  <a:lnTo>
                    <a:pt x="672" y="1614"/>
                  </a:lnTo>
                  <a:lnTo>
                    <a:pt x="678" y="1618"/>
                  </a:lnTo>
                  <a:lnTo>
                    <a:pt x="684" y="1622"/>
                  </a:lnTo>
                  <a:lnTo>
                    <a:pt x="692" y="1626"/>
                  </a:lnTo>
                  <a:lnTo>
                    <a:pt x="700" y="1627"/>
                  </a:lnTo>
                  <a:lnTo>
                    <a:pt x="708" y="1628"/>
                  </a:lnTo>
                  <a:lnTo>
                    <a:pt x="716" y="1630"/>
                  </a:lnTo>
                  <a:lnTo>
                    <a:pt x="716" y="1630"/>
                  </a:lnTo>
                  <a:lnTo>
                    <a:pt x="728" y="1628"/>
                  </a:lnTo>
                  <a:lnTo>
                    <a:pt x="740" y="1624"/>
                  </a:lnTo>
                  <a:lnTo>
                    <a:pt x="751" y="1619"/>
                  </a:lnTo>
                  <a:lnTo>
                    <a:pt x="760" y="1610"/>
                  </a:lnTo>
                  <a:lnTo>
                    <a:pt x="760" y="1624"/>
                  </a:lnTo>
                  <a:lnTo>
                    <a:pt x="808" y="1624"/>
                  </a:lnTo>
                  <a:lnTo>
                    <a:pt x="808" y="1349"/>
                  </a:lnTo>
                  <a:lnTo>
                    <a:pt x="760" y="1373"/>
                  </a:lnTo>
                  <a:lnTo>
                    <a:pt x="760" y="1445"/>
                  </a:lnTo>
                  <a:close/>
                  <a:moveTo>
                    <a:pt x="727" y="1584"/>
                  </a:moveTo>
                  <a:lnTo>
                    <a:pt x="727" y="1584"/>
                  </a:lnTo>
                  <a:lnTo>
                    <a:pt x="720" y="1584"/>
                  </a:lnTo>
                  <a:lnTo>
                    <a:pt x="714" y="1582"/>
                  </a:lnTo>
                  <a:lnTo>
                    <a:pt x="708" y="1579"/>
                  </a:lnTo>
                  <a:lnTo>
                    <a:pt x="702" y="1574"/>
                  </a:lnTo>
                  <a:lnTo>
                    <a:pt x="698" y="1566"/>
                  </a:lnTo>
                  <a:lnTo>
                    <a:pt x="694" y="1555"/>
                  </a:lnTo>
                  <a:lnTo>
                    <a:pt x="691" y="1542"/>
                  </a:lnTo>
                  <a:lnTo>
                    <a:pt x="690" y="1525"/>
                  </a:lnTo>
                  <a:lnTo>
                    <a:pt x="690" y="1525"/>
                  </a:lnTo>
                  <a:lnTo>
                    <a:pt x="691" y="1510"/>
                  </a:lnTo>
                  <a:lnTo>
                    <a:pt x="694" y="1497"/>
                  </a:lnTo>
                  <a:lnTo>
                    <a:pt x="698" y="1487"/>
                  </a:lnTo>
                  <a:lnTo>
                    <a:pt x="702" y="1481"/>
                  </a:lnTo>
                  <a:lnTo>
                    <a:pt x="707" y="1475"/>
                  </a:lnTo>
                  <a:lnTo>
                    <a:pt x="714" y="1473"/>
                  </a:lnTo>
                  <a:lnTo>
                    <a:pt x="720" y="1471"/>
                  </a:lnTo>
                  <a:lnTo>
                    <a:pt x="725" y="1470"/>
                  </a:lnTo>
                  <a:lnTo>
                    <a:pt x="725" y="1470"/>
                  </a:lnTo>
                  <a:lnTo>
                    <a:pt x="732" y="1471"/>
                  </a:lnTo>
                  <a:lnTo>
                    <a:pt x="739" y="1473"/>
                  </a:lnTo>
                  <a:lnTo>
                    <a:pt x="743" y="1474"/>
                  </a:lnTo>
                  <a:lnTo>
                    <a:pt x="748" y="1477"/>
                  </a:lnTo>
                  <a:lnTo>
                    <a:pt x="755" y="1483"/>
                  </a:lnTo>
                  <a:lnTo>
                    <a:pt x="760" y="1489"/>
                  </a:lnTo>
                  <a:lnTo>
                    <a:pt x="760" y="1566"/>
                  </a:lnTo>
                  <a:lnTo>
                    <a:pt x="760" y="1566"/>
                  </a:lnTo>
                  <a:lnTo>
                    <a:pt x="755" y="1572"/>
                  </a:lnTo>
                  <a:lnTo>
                    <a:pt x="748" y="1579"/>
                  </a:lnTo>
                  <a:lnTo>
                    <a:pt x="743" y="1582"/>
                  </a:lnTo>
                  <a:lnTo>
                    <a:pt x="739" y="1583"/>
                  </a:lnTo>
                  <a:lnTo>
                    <a:pt x="733" y="1584"/>
                  </a:lnTo>
                  <a:lnTo>
                    <a:pt x="727" y="1584"/>
                  </a:lnTo>
                  <a:lnTo>
                    <a:pt x="727" y="1584"/>
                  </a:lnTo>
                  <a:close/>
                  <a:moveTo>
                    <a:pt x="1807" y="1426"/>
                  </a:moveTo>
                  <a:lnTo>
                    <a:pt x="1807" y="1426"/>
                  </a:lnTo>
                  <a:lnTo>
                    <a:pt x="1795" y="1427"/>
                  </a:lnTo>
                  <a:lnTo>
                    <a:pt x="1784" y="1431"/>
                  </a:lnTo>
                  <a:lnTo>
                    <a:pt x="1774" y="1437"/>
                  </a:lnTo>
                  <a:lnTo>
                    <a:pt x="1765" y="1445"/>
                  </a:lnTo>
                  <a:lnTo>
                    <a:pt x="1765" y="1354"/>
                  </a:lnTo>
                  <a:lnTo>
                    <a:pt x="1715" y="1378"/>
                  </a:lnTo>
                  <a:lnTo>
                    <a:pt x="1715" y="1624"/>
                  </a:lnTo>
                  <a:lnTo>
                    <a:pt x="1765" y="1624"/>
                  </a:lnTo>
                  <a:lnTo>
                    <a:pt x="1765" y="1611"/>
                  </a:lnTo>
                  <a:lnTo>
                    <a:pt x="1765" y="1611"/>
                  </a:lnTo>
                  <a:lnTo>
                    <a:pt x="1774" y="1619"/>
                  </a:lnTo>
                  <a:lnTo>
                    <a:pt x="1784" y="1624"/>
                  </a:lnTo>
                  <a:lnTo>
                    <a:pt x="1795" y="1628"/>
                  </a:lnTo>
                  <a:lnTo>
                    <a:pt x="1808" y="1630"/>
                  </a:lnTo>
                  <a:lnTo>
                    <a:pt x="1808" y="1630"/>
                  </a:lnTo>
                  <a:lnTo>
                    <a:pt x="1816" y="1628"/>
                  </a:lnTo>
                  <a:lnTo>
                    <a:pt x="1824" y="1627"/>
                  </a:lnTo>
                  <a:lnTo>
                    <a:pt x="1832" y="1626"/>
                  </a:lnTo>
                  <a:lnTo>
                    <a:pt x="1840" y="1622"/>
                  </a:lnTo>
                  <a:lnTo>
                    <a:pt x="1847" y="1619"/>
                  </a:lnTo>
                  <a:lnTo>
                    <a:pt x="1852" y="1614"/>
                  </a:lnTo>
                  <a:lnTo>
                    <a:pt x="1859" y="1608"/>
                  </a:lnTo>
                  <a:lnTo>
                    <a:pt x="1864" y="1602"/>
                  </a:lnTo>
                  <a:lnTo>
                    <a:pt x="1868" y="1595"/>
                  </a:lnTo>
                  <a:lnTo>
                    <a:pt x="1872" y="1587"/>
                  </a:lnTo>
                  <a:lnTo>
                    <a:pt x="1875" y="1579"/>
                  </a:lnTo>
                  <a:lnTo>
                    <a:pt x="1879" y="1570"/>
                  </a:lnTo>
                  <a:lnTo>
                    <a:pt x="1881" y="1548"/>
                  </a:lnTo>
                  <a:lnTo>
                    <a:pt x="1883" y="1526"/>
                  </a:lnTo>
                  <a:lnTo>
                    <a:pt x="1883" y="1526"/>
                  </a:lnTo>
                  <a:lnTo>
                    <a:pt x="1881" y="1503"/>
                  </a:lnTo>
                  <a:lnTo>
                    <a:pt x="1878" y="1485"/>
                  </a:lnTo>
                  <a:lnTo>
                    <a:pt x="1872" y="1467"/>
                  </a:lnTo>
                  <a:lnTo>
                    <a:pt x="1867" y="1459"/>
                  </a:lnTo>
                  <a:lnTo>
                    <a:pt x="1863" y="1453"/>
                  </a:lnTo>
                  <a:lnTo>
                    <a:pt x="1858" y="1447"/>
                  </a:lnTo>
                  <a:lnTo>
                    <a:pt x="1852" y="1442"/>
                  </a:lnTo>
                  <a:lnTo>
                    <a:pt x="1846" y="1437"/>
                  </a:lnTo>
                  <a:lnTo>
                    <a:pt x="1839" y="1433"/>
                  </a:lnTo>
                  <a:lnTo>
                    <a:pt x="1831" y="1430"/>
                  </a:lnTo>
                  <a:lnTo>
                    <a:pt x="1824" y="1427"/>
                  </a:lnTo>
                  <a:lnTo>
                    <a:pt x="1815" y="1426"/>
                  </a:lnTo>
                  <a:lnTo>
                    <a:pt x="1807" y="1426"/>
                  </a:lnTo>
                  <a:lnTo>
                    <a:pt x="1807" y="1426"/>
                  </a:lnTo>
                  <a:close/>
                  <a:moveTo>
                    <a:pt x="1798" y="1470"/>
                  </a:moveTo>
                  <a:lnTo>
                    <a:pt x="1798" y="1470"/>
                  </a:lnTo>
                  <a:lnTo>
                    <a:pt x="1804" y="1471"/>
                  </a:lnTo>
                  <a:lnTo>
                    <a:pt x="1811" y="1473"/>
                  </a:lnTo>
                  <a:lnTo>
                    <a:pt x="1818" y="1477"/>
                  </a:lnTo>
                  <a:lnTo>
                    <a:pt x="1823" y="1482"/>
                  </a:lnTo>
                  <a:lnTo>
                    <a:pt x="1827" y="1490"/>
                  </a:lnTo>
                  <a:lnTo>
                    <a:pt x="1831" y="1499"/>
                  </a:lnTo>
                  <a:lnTo>
                    <a:pt x="1834" y="1511"/>
                  </a:lnTo>
                  <a:lnTo>
                    <a:pt x="1834" y="1525"/>
                  </a:lnTo>
                  <a:lnTo>
                    <a:pt x="1834" y="1525"/>
                  </a:lnTo>
                  <a:lnTo>
                    <a:pt x="1834" y="1539"/>
                  </a:lnTo>
                  <a:lnTo>
                    <a:pt x="1832" y="1551"/>
                  </a:lnTo>
                  <a:lnTo>
                    <a:pt x="1830" y="1562"/>
                  </a:lnTo>
                  <a:lnTo>
                    <a:pt x="1826" y="1570"/>
                  </a:lnTo>
                  <a:lnTo>
                    <a:pt x="1820" y="1576"/>
                  </a:lnTo>
                  <a:lnTo>
                    <a:pt x="1815" y="1582"/>
                  </a:lnTo>
                  <a:lnTo>
                    <a:pt x="1807" y="1584"/>
                  </a:lnTo>
                  <a:lnTo>
                    <a:pt x="1799" y="1584"/>
                  </a:lnTo>
                  <a:lnTo>
                    <a:pt x="1799" y="1584"/>
                  </a:lnTo>
                  <a:lnTo>
                    <a:pt x="1792" y="1584"/>
                  </a:lnTo>
                  <a:lnTo>
                    <a:pt x="1787" y="1583"/>
                  </a:lnTo>
                  <a:lnTo>
                    <a:pt x="1777" y="1578"/>
                  </a:lnTo>
                  <a:lnTo>
                    <a:pt x="1769" y="1572"/>
                  </a:lnTo>
                  <a:lnTo>
                    <a:pt x="1765" y="1567"/>
                  </a:lnTo>
                  <a:lnTo>
                    <a:pt x="1765" y="1490"/>
                  </a:lnTo>
                  <a:lnTo>
                    <a:pt x="1765" y="1490"/>
                  </a:lnTo>
                  <a:lnTo>
                    <a:pt x="1771" y="1482"/>
                  </a:lnTo>
                  <a:lnTo>
                    <a:pt x="1779" y="1475"/>
                  </a:lnTo>
                  <a:lnTo>
                    <a:pt x="1788" y="1471"/>
                  </a:lnTo>
                  <a:lnTo>
                    <a:pt x="1798" y="1470"/>
                  </a:lnTo>
                  <a:lnTo>
                    <a:pt x="1798" y="1470"/>
                  </a:lnTo>
                  <a:close/>
                  <a:moveTo>
                    <a:pt x="1261" y="1443"/>
                  </a:moveTo>
                  <a:lnTo>
                    <a:pt x="1261" y="1443"/>
                  </a:lnTo>
                  <a:lnTo>
                    <a:pt x="1252" y="1437"/>
                  </a:lnTo>
                  <a:lnTo>
                    <a:pt x="1242" y="1430"/>
                  </a:lnTo>
                  <a:lnTo>
                    <a:pt x="1230" y="1427"/>
                  </a:lnTo>
                  <a:lnTo>
                    <a:pt x="1218" y="1426"/>
                  </a:lnTo>
                  <a:lnTo>
                    <a:pt x="1218" y="1426"/>
                  </a:lnTo>
                  <a:lnTo>
                    <a:pt x="1209" y="1426"/>
                  </a:lnTo>
                  <a:lnTo>
                    <a:pt x="1201" y="1427"/>
                  </a:lnTo>
                  <a:lnTo>
                    <a:pt x="1195" y="1430"/>
                  </a:lnTo>
                  <a:lnTo>
                    <a:pt x="1187" y="1433"/>
                  </a:lnTo>
                  <a:lnTo>
                    <a:pt x="1180" y="1437"/>
                  </a:lnTo>
                  <a:lnTo>
                    <a:pt x="1173" y="1442"/>
                  </a:lnTo>
                  <a:lnTo>
                    <a:pt x="1168" y="1447"/>
                  </a:lnTo>
                  <a:lnTo>
                    <a:pt x="1163" y="1453"/>
                  </a:lnTo>
                  <a:lnTo>
                    <a:pt x="1159" y="1459"/>
                  </a:lnTo>
                  <a:lnTo>
                    <a:pt x="1153" y="1467"/>
                  </a:lnTo>
                  <a:lnTo>
                    <a:pt x="1148" y="1485"/>
                  </a:lnTo>
                  <a:lnTo>
                    <a:pt x="1144" y="1503"/>
                  </a:lnTo>
                  <a:lnTo>
                    <a:pt x="1143" y="1526"/>
                  </a:lnTo>
                  <a:lnTo>
                    <a:pt x="1143" y="1526"/>
                  </a:lnTo>
                  <a:lnTo>
                    <a:pt x="1144" y="1548"/>
                  </a:lnTo>
                  <a:lnTo>
                    <a:pt x="1148" y="1568"/>
                  </a:lnTo>
                  <a:lnTo>
                    <a:pt x="1153" y="1587"/>
                  </a:lnTo>
                  <a:lnTo>
                    <a:pt x="1157" y="1595"/>
                  </a:lnTo>
                  <a:lnTo>
                    <a:pt x="1163" y="1602"/>
                  </a:lnTo>
                  <a:lnTo>
                    <a:pt x="1168" y="1608"/>
                  </a:lnTo>
                  <a:lnTo>
                    <a:pt x="1173" y="1614"/>
                  </a:lnTo>
                  <a:lnTo>
                    <a:pt x="1179" y="1618"/>
                  </a:lnTo>
                  <a:lnTo>
                    <a:pt x="1185" y="1622"/>
                  </a:lnTo>
                  <a:lnTo>
                    <a:pt x="1193" y="1626"/>
                  </a:lnTo>
                  <a:lnTo>
                    <a:pt x="1201" y="1627"/>
                  </a:lnTo>
                  <a:lnTo>
                    <a:pt x="1209" y="1628"/>
                  </a:lnTo>
                  <a:lnTo>
                    <a:pt x="1217" y="1630"/>
                  </a:lnTo>
                  <a:lnTo>
                    <a:pt x="1217" y="1630"/>
                  </a:lnTo>
                  <a:lnTo>
                    <a:pt x="1229" y="1628"/>
                  </a:lnTo>
                  <a:lnTo>
                    <a:pt x="1241" y="1624"/>
                  </a:lnTo>
                  <a:lnTo>
                    <a:pt x="1252" y="1619"/>
                  </a:lnTo>
                  <a:lnTo>
                    <a:pt x="1261" y="1610"/>
                  </a:lnTo>
                  <a:lnTo>
                    <a:pt x="1261" y="1615"/>
                  </a:lnTo>
                  <a:lnTo>
                    <a:pt x="1261" y="1615"/>
                  </a:lnTo>
                  <a:lnTo>
                    <a:pt x="1261" y="1623"/>
                  </a:lnTo>
                  <a:lnTo>
                    <a:pt x="1261" y="1631"/>
                  </a:lnTo>
                  <a:lnTo>
                    <a:pt x="1258" y="1640"/>
                  </a:lnTo>
                  <a:lnTo>
                    <a:pt x="1254" y="1648"/>
                  </a:lnTo>
                  <a:lnTo>
                    <a:pt x="1250" y="1652"/>
                  </a:lnTo>
                  <a:lnTo>
                    <a:pt x="1246" y="1655"/>
                  </a:lnTo>
                  <a:lnTo>
                    <a:pt x="1241" y="1657"/>
                  </a:lnTo>
                  <a:lnTo>
                    <a:pt x="1236" y="1660"/>
                  </a:lnTo>
                  <a:lnTo>
                    <a:pt x="1220" y="1664"/>
                  </a:lnTo>
                  <a:lnTo>
                    <a:pt x="1200" y="1667"/>
                  </a:lnTo>
                  <a:lnTo>
                    <a:pt x="1197" y="1667"/>
                  </a:lnTo>
                  <a:lnTo>
                    <a:pt x="1214" y="1704"/>
                  </a:lnTo>
                  <a:lnTo>
                    <a:pt x="1216" y="1704"/>
                  </a:lnTo>
                  <a:lnTo>
                    <a:pt x="1216" y="1704"/>
                  </a:lnTo>
                  <a:lnTo>
                    <a:pt x="1237" y="1703"/>
                  </a:lnTo>
                  <a:lnTo>
                    <a:pt x="1248" y="1700"/>
                  </a:lnTo>
                  <a:lnTo>
                    <a:pt x="1257" y="1697"/>
                  </a:lnTo>
                  <a:lnTo>
                    <a:pt x="1265" y="1693"/>
                  </a:lnTo>
                  <a:lnTo>
                    <a:pt x="1273" y="1689"/>
                  </a:lnTo>
                  <a:lnTo>
                    <a:pt x="1280" y="1685"/>
                  </a:lnTo>
                  <a:lnTo>
                    <a:pt x="1286" y="1679"/>
                  </a:lnTo>
                  <a:lnTo>
                    <a:pt x="1292" y="1672"/>
                  </a:lnTo>
                  <a:lnTo>
                    <a:pt x="1297" y="1665"/>
                  </a:lnTo>
                  <a:lnTo>
                    <a:pt x="1301" y="1657"/>
                  </a:lnTo>
                  <a:lnTo>
                    <a:pt x="1303" y="1649"/>
                  </a:lnTo>
                  <a:lnTo>
                    <a:pt x="1306" y="1640"/>
                  </a:lnTo>
                  <a:lnTo>
                    <a:pt x="1307" y="1630"/>
                  </a:lnTo>
                  <a:lnTo>
                    <a:pt x="1309" y="1607"/>
                  </a:lnTo>
                  <a:lnTo>
                    <a:pt x="1309" y="1430"/>
                  </a:lnTo>
                  <a:lnTo>
                    <a:pt x="1261" y="1430"/>
                  </a:lnTo>
                  <a:lnTo>
                    <a:pt x="1261" y="1443"/>
                  </a:lnTo>
                  <a:close/>
                  <a:moveTo>
                    <a:pt x="1261" y="1489"/>
                  </a:moveTo>
                  <a:lnTo>
                    <a:pt x="1261" y="1566"/>
                  </a:lnTo>
                  <a:lnTo>
                    <a:pt x="1261" y="1566"/>
                  </a:lnTo>
                  <a:lnTo>
                    <a:pt x="1256" y="1572"/>
                  </a:lnTo>
                  <a:lnTo>
                    <a:pt x="1248" y="1579"/>
                  </a:lnTo>
                  <a:lnTo>
                    <a:pt x="1238" y="1583"/>
                  </a:lnTo>
                  <a:lnTo>
                    <a:pt x="1233" y="1584"/>
                  </a:lnTo>
                  <a:lnTo>
                    <a:pt x="1228" y="1584"/>
                  </a:lnTo>
                  <a:lnTo>
                    <a:pt x="1228" y="1584"/>
                  </a:lnTo>
                  <a:lnTo>
                    <a:pt x="1221" y="1584"/>
                  </a:lnTo>
                  <a:lnTo>
                    <a:pt x="1214" y="1582"/>
                  </a:lnTo>
                  <a:lnTo>
                    <a:pt x="1209" y="1579"/>
                  </a:lnTo>
                  <a:lnTo>
                    <a:pt x="1203" y="1574"/>
                  </a:lnTo>
                  <a:lnTo>
                    <a:pt x="1199" y="1566"/>
                  </a:lnTo>
                  <a:lnTo>
                    <a:pt x="1195" y="1555"/>
                  </a:lnTo>
                  <a:lnTo>
                    <a:pt x="1192" y="1542"/>
                  </a:lnTo>
                  <a:lnTo>
                    <a:pt x="1191" y="1525"/>
                  </a:lnTo>
                  <a:lnTo>
                    <a:pt x="1191" y="1525"/>
                  </a:lnTo>
                  <a:lnTo>
                    <a:pt x="1192" y="1510"/>
                  </a:lnTo>
                  <a:lnTo>
                    <a:pt x="1195" y="1497"/>
                  </a:lnTo>
                  <a:lnTo>
                    <a:pt x="1199" y="1487"/>
                  </a:lnTo>
                  <a:lnTo>
                    <a:pt x="1203" y="1481"/>
                  </a:lnTo>
                  <a:lnTo>
                    <a:pt x="1209" y="1475"/>
                  </a:lnTo>
                  <a:lnTo>
                    <a:pt x="1214" y="1473"/>
                  </a:lnTo>
                  <a:lnTo>
                    <a:pt x="1221" y="1471"/>
                  </a:lnTo>
                  <a:lnTo>
                    <a:pt x="1228" y="1470"/>
                  </a:lnTo>
                  <a:lnTo>
                    <a:pt x="1228" y="1470"/>
                  </a:lnTo>
                  <a:lnTo>
                    <a:pt x="1233" y="1470"/>
                  </a:lnTo>
                  <a:lnTo>
                    <a:pt x="1240" y="1471"/>
                  </a:lnTo>
                  <a:lnTo>
                    <a:pt x="1245" y="1474"/>
                  </a:lnTo>
                  <a:lnTo>
                    <a:pt x="1249" y="1477"/>
                  </a:lnTo>
                  <a:lnTo>
                    <a:pt x="1256" y="1483"/>
                  </a:lnTo>
                  <a:lnTo>
                    <a:pt x="1261" y="1489"/>
                  </a:lnTo>
                  <a:lnTo>
                    <a:pt x="1261" y="1489"/>
                  </a:lnTo>
                  <a:close/>
                  <a:moveTo>
                    <a:pt x="1459" y="1478"/>
                  </a:moveTo>
                  <a:lnTo>
                    <a:pt x="1459" y="1478"/>
                  </a:lnTo>
                  <a:lnTo>
                    <a:pt x="1470" y="1473"/>
                  </a:lnTo>
                  <a:lnTo>
                    <a:pt x="1482" y="1469"/>
                  </a:lnTo>
                  <a:lnTo>
                    <a:pt x="1493" y="1466"/>
                  </a:lnTo>
                  <a:lnTo>
                    <a:pt x="1508" y="1465"/>
                  </a:lnTo>
                  <a:lnTo>
                    <a:pt x="1508" y="1465"/>
                  </a:lnTo>
                  <a:lnTo>
                    <a:pt x="1516" y="1465"/>
                  </a:lnTo>
                  <a:lnTo>
                    <a:pt x="1523" y="1466"/>
                  </a:lnTo>
                  <a:lnTo>
                    <a:pt x="1529" y="1469"/>
                  </a:lnTo>
                  <a:lnTo>
                    <a:pt x="1535" y="1471"/>
                  </a:lnTo>
                  <a:lnTo>
                    <a:pt x="1537" y="1475"/>
                  </a:lnTo>
                  <a:lnTo>
                    <a:pt x="1541" y="1481"/>
                  </a:lnTo>
                  <a:lnTo>
                    <a:pt x="1543" y="1486"/>
                  </a:lnTo>
                  <a:lnTo>
                    <a:pt x="1543" y="1493"/>
                  </a:lnTo>
                  <a:lnTo>
                    <a:pt x="1543" y="1506"/>
                  </a:lnTo>
                  <a:lnTo>
                    <a:pt x="1543" y="1506"/>
                  </a:lnTo>
                  <a:lnTo>
                    <a:pt x="1533" y="1502"/>
                  </a:lnTo>
                  <a:lnTo>
                    <a:pt x="1524" y="1499"/>
                  </a:lnTo>
                  <a:lnTo>
                    <a:pt x="1512" y="1498"/>
                  </a:lnTo>
                  <a:lnTo>
                    <a:pt x="1501" y="1497"/>
                  </a:lnTo>
                  <a:lnTo>
                    <a:pt x="1501" y="1497"/>
                  </a:lnTo>
                  <a:lnTo>
                    <a:pt x="1488" y="1498"/>
                  </a:lnTo>
                  <a:lnTo>
                    <a:pt x="1475" y="1501"/>
                  </a:lnTo>
                  <a:lnTo>
                    <a:pt x="1462" y="1505"/>
                  </a:lnTo>
                  <a:lnTo>
                    <a:pt x="1450" y="1511"/>
                  </a:lnTo>
                  <a:lnTo>
                    <a:pt x="1439" y="1519"/>
                  </a:lnTo>
                  <a:lnTo>
                    <a:pt x="1435" y="1525"/>
                  </a:lnTo>
                  <a:lnTo>
                    <a:pt x="1431" y="1531"/>
                  </a:lnTo>
                  <a:lnTo>
                    <a:pt x="1428" y="1536"/>
                  </a:lnTo>
                  <a:lnTo>
                    <a:pt x="1426" y="1544"/>
                  </a:lnTo>
                  <a:lnTo>
                    <a:pt x="1424" y="1552"/>
                  </a:lnTo>
                  <a:lnTo>
                    <a:pt x="1424" y="1560"/>
                  </a:lnTo>
                  <a:lnTo>
                    <a:pt x="1424" y="1560"/>
                  </a:lnTo>
                  <a:lnTo>
                    <a:pt x="1424" y="1570"/>
                  </a:lnTo>
                  <a:lnTo>
                    <a:pt x="1426" y="1578"/>
                  </a:lnTo>
                  <a:lnTo>
                    <a:pt x="1428" y="1586"/>
                  </a:lnTo>
                  <a:lnTo>
                    <a:pt x="1431" y="1592"/>
                  </a:lnTo>
                  <a:lnTo>
                    <a:pt x="1434" y="1599"/>
                  </a:lnTo>
                  <a:lnTo>
                    <a:pt x="1438" y="1604"/>
                  </a:lnTo>
                  <a:lnTo>
                    <a:pt x="1448" y="1614"/>
                  </a:lnTo>
                  <a:lnTo>
                    <a:pt x="1459" y="1620"/>
                  </a:lnTo>
                  <a:lnTo>
                    <a:pt x="1471" y="1626"/>
                  </a:lnTo>
                  <a:lnTo>
                    <a:pt x="1484" y="1628"/>
                  </a:lnTo>
                  <a:lnTo>
                    <a:pt x="1496" y="1630"/>
                  </a:lnTo>
                  <a:lnTo>
                    <a:pt x="1496" y="1630"/>
                  </a:lnTo>
                  <a:lnTo>
                    <a:pt x="1507" y="1628"/>
                  </a:lnTo>
                  <a:lnTo>
                    <a:pt x="1520" y="1624"/>
                  </a:lnTo>
                  <a:lnTo>
                    <a:pt x="1532" y="1619"/>
                  </a:lnTo>
                  <a:lnTo>
                    <a:pt x="1537" y="1614"/>
                  </a:lnTo>
                  <a:lnTo>
                    <a:pt x="1543" y="1608"/>
                  </a:lnTo>
                  <a:lnTo>
                    <a:pt x="1543" y="1624"/>
                  </a:lnTo>
                  <a:lnTo>
                    <a:pt x="1590" y="1624"/>
                  </a:lnTo>
                  <a:lnTo>
                    <a:pt x="1590" y="1494"/>
                  </a:lnTo>
                  <a:lnTo>
                    <a:pt x="1590" y="1494"/>
                  </a:lnTo>
                  <a:lnTo>
                    <a:pt x="1589" y="1479"/>
                  </a:lnTo>
                  <a:lnTo>
                    <a:pt x="1585" y="1466"/>
                  </a:lnTo>
                  <a:lnTo>
                    <a:pt x="1579" y="1454"/>
                  </a:lnTo>
                  <a:lnTo>
                    <a:pt x="1571" y="1445"/>
                  </a:lnTo>
                  <a:lnTo>
                    <a:pt x="1559" y="1437"/>
                  </a:lnTo>
                  <a:lnTo>
                    <a:pt x="1545" y="1431"/>
                  </a:lnTo>
                  <a:lnTo>
                    <a:pt x="1529" y="1427"/>
                  </a:lnTo>
                  <a:lnTo>
                    <a:pt x="1512" y="1426"/>
                  </a:lnTo>
                  <a:lnTo>
                    <a:pt x="1512" y="1426"/>
                  </a:lnTo>
                  <a:lnTo>
                    <a:pt x="1493" y="1427"/>
                  </a:lnTo>
                  <a:lnTo>
                    <a:pt x="1475" y="1431"/>
                  </a:lnTo>
                  <a:lnTo>
                    <a:pt x="1456" y="1437"/>
                  </a:lnTo>
                  <a:lnTo>
                    <a:pt x="1440" y="1445"/>
                  </a:lnTo>
                  <a:lnTo>
                    <a:pt x="1459" y="1478"/>
                  </a:lnTo>
                  <a:close/>
                  <a:moveTo>
                    <a:pt x="1472" y="1560"/>
                  </a:moveTo>
                  <a:lnTo>
                    <a:pt x="1472" y="1560"/>
                  </a:lnTo>
                  <a:lnTo>
                    <a:pt x="1472" y="1554"/>
                  </a:lnTo>
                  <a:lnTo>
                    <a:pt x="1475" y="1548"/>
                  </a:lnTo>
                  <a:lnTo>
                    <a:pt x="1478" y="1544"/>
                  </a:lnTo>
                  <a:lnTo>
                    <a:pt x="1482" y="1540"/>
                  </a:lnTo>
                  <a:lnTo>
                    <a:pt x="1486" y="1536"/>
                  </a:lnTo>
                  <a:lnTo>
                    <a:pt x="1491" y="1535"/>
                  </a:lnTo>
                  <a:lnTo>
                    <a:pt x="1497" y="1534"/>
                  </a:lnTo>
                  <a:lnTo>
                    <a:pt x="1505" y="1533"/>
                  </a:lnTo>
                  <a:lnTo>
                    <a:pt x="1505" y="1533"/>
                  </a:lnTo>
                  <a:lnTo>
                    <a:pt x="1516" y="1534"/>
                  </a:lnTo>
                  <a:lnTo>
                    <a:pt x="1525" y="1535"/>
                  </a:lnTo>
                  <a:lnTo>
                    <a:pt x="1535" y="1538"/>
                  </a:lnTo>
                  <a:lnTo>
                    <a:pt x="1543" y="1542"/>
                  </a:lnTo>
                  <a:lnTo>
                    <a:pt x="1543" y="1568"/>
                  </a:lnTo>
                  <a:lnTo>
                    <a:pt x="1543" y="1568"/>
                  </a:lnTo>
                  <a:lnTo>
                    <a:pt x="1537" y="1576"/>
                  </a:lnTo>
                  <a:lnTo>
                    <a:pt x="1528" y="1583"/>
                  </a:lnTo>
                  <a:lnTo>
                    <a:pt x="1517" y="1587"/>
                  </a:lnTo>
                  <a:lnTo>
                    <a:pt x="1512" y="1588"/>
                  </a:lnTo>
                  <a:lnTo>
                    <a:pt x="1505" y="1590"/>
                  </a:lnTo>
                  <a:lnTo>
                    <a:pt x="1505" y="1590"/>
                  </a:lnTo>
                  <a:lnTo>
                    <a:pt x="1497" y="1588"/>
                  </a:lnTo>
                  <a:lnTo>
                    <a:pt x="1491" y="1587"/>
                  </a:lnTo>
                  <a:lnTo>
                    <a:pt x="1486" y="1584"/>
                  </a:lnTo>
                  <a:lnTo>
                    <a:pt x="1482" y="1582"/>
                  </a:lnTo>
                  <a:lnTo>
                    <a:pt x="1478" y="1578"/>
                  </a:lnTo>
                  <a:lnTo>
                    <a:pt x="1475" y="1572"/>
                  </a:lnTo>
                  <a:lnTo>
                    <a:pt x="1472" y="1567"/>
                  </a:lnTo>
                  <a:lnTo>
                    <a:pt x="1472" y="1560"/>
                  </a:lnTo>
                  <a:lnTo>
                    <a:pt x="1472" y="1560"/>
                  </a:lnTo>
                  <a:close/>
                  <a:moveTo>
                    <a:pt x="2037" y="1568"/>
                  </a:moveTo>
                  <a:lnTo>
                    <a:pt x="2037" y="1568"/>
                  </a:lnTo>
                  <a:lnTo>
                    <a:pt x="2030" y="1574"/>
                  </a:lnTo>
                  <a:lnTo>
                    <a:pt x="2021" y="1579"/>
                  </a:lnTo>
                  <a:lnTo>
                    <a:pt x="2012" y="1583"/>
                  </a:lnTo>
                  <a:lnTo>
                    <a:pt x="1998" y="1584"/>
                  </a:lnTo>
                  <a:lnTo>
                    <a:pt x="1998" y="1584"/>
                  </a:lnTo>
                  <a:lnTo>
                    <a:pt x="1989" y="1583"/>
                  </a:lnTo>
                  <a:lnTo>
                    <a:pt x="1981" y="1582"/>
                  </a:lnTo>
                  <a:lnTo>
                    <a:pt x="1974" y="1578"/>
                  </a:lnTo>
                  <a:lnTo>
                    <a:pt x="1968" y="1574"/>
                  </a:lnTo>
                  <a:lnTo>
                    <a:pt x="1963" y="1566"/>
                  </a:lnTo>
                  <a:lnTo>
                    <a:pt x="1959" y="1555"/>
                  </a:lnTo>
                  <a:lnTo>
                    <a:pt x="1956" y="1542"/>
                  </a:lnTo>
                  <a:lnTo>
                    <a:pt x="2075" y="1542"/>
                  </a:lnTo>
                  <a:lnTo>
                    <a:pt x="2075" y="1542"/>
                  </a:lnTo>
                  <a:lnTo>
                    <a:pt x="2075" y="1527"/>
                  </a:lnTo>
                  <a:lnTo>
                    <a:pt x="2075" y="1527"/>
                  </a:lnTo>
                  <a:lnTo>
                    <a:pt x="2074" y="1506"/>
                  </a:lnTo>
                  <a:lnTo>
                    <a:pt x="2073" y="1495"/>
                  </a:lnTo>
                  <a:lnTo>
                    <a:pt x="2070" y="1486"/>
                  </a:lnTo>
                  <a:lnTo>
                    <a:pt x="2066" y="1477"/>
                  </a:lnTo>
                  <a:lnTo>
                    <a:pt x="2062" y="1469"/>
                  </a:lnTo>
                  <a:lnTo>
                    <a:pt x="2058" y="1461"/>
                  </a:lnTo>
                  <a:lnTo>
                    <a:pt x="2053" y="1454"/>
                  </a:lnTo>
                  <a:lnTo>
                    <a:pt x="2048" y="1447"/>
                  </a:lnTo>
                  <a:lnTo>
                    <a:pt x="2041" y="1442"/>
                  </a:lnTo>
                  <a:lnTo>
                    <a:pt x="2034" y="1437"/>
                  </a:lnTo>
                  <a:lnTo>
                    <a:pt x="2028" y="1434"/>
                  </a:lnTo>
                  <a:lnTo>
                    <a:pt x="2020" y="1430"/>
                  </a:lnTo>
                  <a:lnTo>
                    <a:pt x="2012" y="1427"/>
                  </a:lnTo>
                  <a:lnTo>
                    <a:pt x="2004" y="1426"/>
                  </a:lnTo>
                  <a:lnTo>
                    <a:pt x="1994" y="1426"/>
                  </a:lnTo>
                  <a:lnTo>
                    <a:pt x="1994" y="1426"/>
                  </a:lnTo>
                  <a:lnTo>
                    <a:pt x="1985" y="1426"/>
                  </a:lnTo>
                  <a:lnTo>
                    <a:pt x="1976" y="1429"/>
                  </a:lnTo>
                  <a:lnTo>
                    <a:pt x="1968" y="1430"/>
                  </a:lnTo>
                  <a:lnTo>
                    <a:pt x="1959" y="1434"/>
                  </a:lnTo>
                  <a:lnTo>
                    <a:pt x="1952" y="1438"/>
                  </a:lnTo>
                  <a:lnTo>
                    <a:pt x="1944" y="1443"/>
                  </a:lnTo>
                  <a:lnTo>
                    <a:pt x="1937" y="1449"/>
                  </a:lnTo>
                  <a:lnTo>
                    <a:pt x="1932" y="1455"/>
                  </a:lnTo>
                  <a:lnTo>
                    <a:pt x="1927" y="1462"/>
                  </a:lnTo>
                  <a:lnTo>
                    <a:pt x="1921" y="1470"/>
                  </a:lnTo>
                  <a:lnTo>
                    <a:pt x="1917" y="1478"/>
                  </a:lnTo>
                  <a:lnTo>
                    <a:pt x="1913" y="1487"/>
                  </a:lnTo>
                  <a:lnTo>
                    <a:pt x="1911" y="1497"/>
                  </a:lnTo>
                  <a:lnTo>
                    <a:pt x="1909" y="1506"/>
                  </a:lnTo>
                  <a:lnTo>
                    <a:pt x="1908" y="1517"/>
                  </a:lnTo>
                  <a:lnTo>
                    <a:pt x="1907" y="1527"/>
                  </a:lnTo>
                  <a:lnTo>
                    <a:pt x="1907" y="1527"/>
                  </a:lnTo>
                  <a:lnTo>
                    <a:pt x="1908" y="1539"/>
                  </a:lnTo>
                  <a:lnTo>
                    <a:pt x="1909" y="1550"/>
                  </a:lnTo>
                  <a:lnTo>
                    <a:pt x="1911" y="1560"/>
                  </a:lnTo>
                  <a:lnTo>
                    <a:pt x="1913" y="1570"/>
                  </a:lnTo>
                  <a:lnTo>
                    <a:pt x="1917" y="1579"/>
                  </a:lnTo>
                  <a:lnTo>
                    <a:pt x="1921" y="1587"/>
                  </a:lnTo>
                  <a:lnTo>
                    <a:pt x="1927" y="1595"/>
                  </a:lnTo>
                  <a:lnTo>
                    <a:pt x="1932" y="1602"/>
                  </a:lnTo>
                  <a:lnTo>
                    <a:pt x="1939" y="1608"/>
                  </a:lnTo>
                  <a:lnTo>
                    <a:pt x="1945" y="1614"/>
                  </a:lnTo>
                  <a:lnTo>
                    <a:pt x="1953" y="1618"/>
                  </a:lnTo>
                  <a:lnTo>
                    <a:pt x="1961" y="1622"/>
                  </a:lnTo>
                  <a:lnTo>
                    <a:pt x="1969" y="1626"/>
                  </a:lnTo>
                  <a:lnTo>
                    <a:pt x="1978" y="1627"/>
                  </a:lnTo>
                  <a:lnTo>
                    <a:pt x="1989" y="1628"/>
                  </a:lnTo>
                  <a:lnTo>
                    <a:pt x="1998" y="1630"/>
                  </a:lnTo>
                  <a:lnTo>
                    <a:pt x="1998" y="1630"/>
                  </a:lnTo>
                  <a:lnTo>
                    <a:pt x="2009" y="1628"/>
                  </a:lnTo>
                  <a:lnTo>
                    <a:pt x="2018" y="1627"/>
                  </a:lnTo>
                  <a:lnTo>
                    <a:pt x="2028" y="1624"/>
                  </a:lnTo>
                  <a:lnTo>
                    <a:pt x="2036" y="1622"/>
                  </a:lnTo>
                  <a:lnTo>
                    <a:pt x="2045" y="1618"/>
                  </a:lnTo>
                  <a:lnTo>
                    <a:pt x="2053" y="1612"/>
                  </a:lnTo>
                  <a:lnTo>
                    <a:pt x="2061" y="1606"/>
                  </a:lnTo>
                  <a:lnTo>
                    <a:pt x="2068" y="1599"/>
                  </a:lnTo>
                  <a:lnTo>
                    <a:pt x="2037" y="1568"/>
                  </a:lnTo>
                  <a:close/>
                  <a:moveTo>
                    <a:pt x="1956" y="1507"/>
                  </a:moveTo>
                  <a:lnTo>
                    <a:pt x="1956" y="1507"/>
                  </a:lnTo>
                  <a:lnTo>
                    <a:pt x="1957" y="1499"/>
                  </a:lnTo>
                  <a:lnTo>
                    <a:pt x="1960" y="1491"/>
                  </a:lnTo>
                  <a:lnTo>
                    <a:pt x="1963" y="1485"/>
                  </a:lnTo>
                  <a:lnTo>
                    <a:pt x="1968" y="1478"/>
                  </a:lnTo>
                  <a:lnTo>
                    <a:pt x="1973" y="1474"/>
                  </a:lnTo>
                  <a:lnTo>
                    <a:pt x="1978" y="1470"/>
                  </a:lnTo>
                  <a:lnTo>
                    <a:pt x="1985" y="1467"/>
                  </a:lnTo>
                  <a:lnTo>
                    <a:pt x="1993" y="1467"/>
                  </a:lnTo>
                  <a:lnTo>
                    <a:pt x="1993" y="1467"/>
                  </a:lnTo>
                  <a:lnTo>
                    <a:pt x="2001" y="1467"/>
                  </a:lnTo>
                  <a:lnTo>
                    <a:pt x="2009" y="1470"/>
                  </a:lnTo>
                  <a:lnTo>
                    <a:pt x="2016" y="1474"/>
                  </a:lnTo>
                  <a:lnTo>
                    <a:pt x="2020" y="1479"/>
                  </a:lnTo>
                  <a:lnTo>
                    <a:pt x="2024" y="1486"/>
                  </a:lnTo>
                  <a:lnTo>
                    <a:pt x="2026" y="1493"/>
                  </a:lnTo>
                  <a:lnTo>
                    <a:pt x="2029" y="1499"/>
                  </a:lnTo>
                  <a:lnTo>
                    <a:pt x="2029" y="1507"/>
                  </a:lnTo>
                  <a:lnTo>
                    <a:pt x="1956" y="1507"/>
                  </a:lnTo>
                  <a:close/>
                  <a:moveTo>
                    <a:pt x="2501" y="1568"/>
                  </a:moveTo>
                  <a:lnTo>
                    <a:pt x="2501" y="1568"/>
                  </a:lnTo>
                  <a:lnTo>
                    <a:pt x="2493" y="1574"/>
                  </a:lnTo>
                  <a:lnTo>
                    <a:pt x="2485" y="1579"/>
                  </a:lnTo>
                  <a:lnTo>
                    <a:pt x="2474" y="1583"/>
                  </a:lnTo>
                  <a:lnTo>
                    <a:pt x="2462" y="1584"/>
                  </a:lnTo>
                  <a:lnTo>
                    <a:pt x="2462" y="1584"/>
                  </a:lnTo>
                  <a:lnTo>
                    <a:pt x="2452" y="1583"/>
                  </a:lnTo>
                  <a:lnTo>
                    <a:pt x="2445" y="1582"/>
                  </a:lnTo>
                  <a:lnTo>
                    <a:pt x="2438" y="1578"/>
                  </a:lnTo>
                  <a:lnTo>
                    <a:pt x="2432" y="1574"/>
                  </a:lnTo>
                  <a:lnTo>
                    <a:pt x="2425" y="1566"/>
                  </a:lnTo>
                  <a:lnTo>
                    <a:pt x="2421" y="1555"/>
                  </a:lnTo>
                  <a:lnTo>
                    <a:pt x="2420" y="1542"/>
                  </a:lnTo>
                  <a:lnTo>
                    <a:pt x="2538" y="1542"/>
                  </a:lnTo>
                  <a:lnTo>
                    <a:pt x="2538" y="1542"/>
                  </a:lnTo>
                  <a:lnTo>
                    <a:pt x="2539" y="1527"/>
                  </a:lnTo>
                  <a:lnTo>
                    <a:pt x="2539" y="1527"/>
                  </a:lnTo>
                  <a:lnTo>
                    <a:pt x="2537" y="1506"/>
                  </a:lnTo>
                  <a:lnTo>
                    <a:pt x="2535" y="1495"/>
                  </a:lnTo>
                  <a:lnTo>
                    <a:pt x="2533" y="1486"/>
                  </a:lnTo>
                  <a:lnTo>
                    <a:pt x="2530" y="1477"/>
                  </a:lnTo>
                  <a:lnTo>
                    <a:pt x="2526" y="1469"/>
                  </a:lnTo>
                  <a:lnTo>
                    <a:pt x="2522" y="1461"/>
                  </a:lnTo>
                  <a:lnTo>
                    <a:pt x="2517" y="1454"/>
                  </a:lnTo>
                  <a:lnTo>
                    <a:pt x="2511" y="1447"/>
                  </a:lnTo>
                  <a:lnTo>
                    <a:pt x="2505" y="1442"/>
                  </a:lnTo>
                  <a:lnTo>
                    <a:pt x="2498" y="1437"/>
                  </a:lnTo>
                  <a:lnTo>
                    <a:pt x="2491" y="1434"/>
                  </a:lnTo>
                  <a:lnTo>
                    <a:pt x="2483" y="1430"/>
                  </a:lnTo>
                  <a:lnTo>
                    <a:pt x="2475" y="1427"/>
                  </a:lnTo>
                  <a:lnTo>
                    <a:pt x="2466" y="1426"/>
                  </a:lnTo>
                  <a:lnTo>
                    <a:pt x="2457" y="1426"/>
                  </a:lnTo>
                  <a:lnTo>
                    <a:pt x="2457" y="1426"/>
                  </a:lnTo>
                  <a:lnTo>
                    <a:pt x="2448" y="1426"/>
                  </a:lnTo>
                  <a:lnTo>
                    <a:pt x="2440" y="1429"/>
                  </a:lnTo>
                  <a:lnTo>
                    <a:pt x="2430" y="1430"/>
                  </a:lnTo>
                  <a:lnTo>
                    <a:pt x="2422" y="1434"/>
                  </a:lnTo>
                  <a:lnTo>
                    <a:pt x="2414" y="1438"/>
                  </a:lnTo>
                  <a:lnTo>
                    <a:pt x="2408" y="1443"/>
                  </a:lnTo>
                  <a:lnTo>
                    <a:pt x="2401" y="1449"/>
                  </a:lnTo>
                  <a:lnTo>
                    <a:pt x="2394" y="1455"/>
                  </a:lnTo>
                  <a:lnTo>
                    <a:pt x="2389" y="1462"/>
                  </a:lnTo>
                  <a:lnTo>
                    <a:pt x="2384" y="1470"/>
                  </a:lnTo>
                  <a:lnTo>
                    <a:pt x="2380" y="1478"/>
                  </a:lnTo>
                  <a:lnTo>
                    <a:pt x="2377" y="1487"/>
                  </a:lnTo>
                  <a:lnTo>
                    <a:pt x="2373" y="1497"/>
                  </a:lnTo>
                  <a:lnTo>
                    <a:pt x="2372" y="1506"/>
                  </a:lnTo>
                  <a:lnTo>
                    <a:pt x="2370" y="1517"/>
                  </a:lnTo>
                  <a:lnTo>
                    <a:pt x="2370" y="1527"/>
                  </a:lnTo>
                  <a:lnTo>
                    <a:pt x="2370" y="1527"/>
                  </a:lnTo>
                  <a:lnTo>
                    <a:pt x="2370" y="1539"/>
                  </a:lnTo>
                  <a:lnTo>
                    <a:pt x="2372" y="1550"/>
                  </a:lnTo>
                  <a:lnTo>
                    <a:pt x="2373" y="1560"/>
                  </a:lnTo>
                  <a:lnTo>
                    <a:pt x="2377" y="1570"/>
                  </a:lnTo>
                  <a:lnTo>
                    <a:pt x="2380" y="1579"/>
                  </a:lnTo>
                  <a:lnTo>
                    <a:pt x="2385" y="1587"/>
                  </a:lnTo>
                  <a:lnTo>
                    <a:pt x="2389" y="1595"/>
                  </a:lnTo>
                  <a:lnTo>
                    <a:pt x="2396" y="1602"/>
                  </a:lnTo>
                  <a:lnTo>
                    <a:pt x="2401" y="1608"/>
                  </a:lnTo>
                  <a:lnTo>
                    <a:pt x="2409" y="1614"/>
                  </a:lnTo>
                  <a:lnTo>
                    <a:pt x="2416" y="1618"/>
                  </a:lnTo>
                  <a:lnTo>
                    <a:pt x="2424" y="1622"/>
                  </a:lnTo>
                  <a:lnTo>
                    <a:pt x="2433" y="1626"/>
                  </a:lnTo>
                  <a:lnTo>
                    <a:pt x="2442" y="1627"/>
                  </a:lnTo>
                  <a:lnTo>
                    <a:pt x="2452" y="1628"/>
                  </a:lnTo>
                  <a:lnTo>
                    <a:pt x="2462" y="1630"/>
                  </a:lnTo>
                  <a:lnTo>
                    <a:pt x="2462" y="1630"/>
                  </a:lnTo>
                  <a:lnTo>
                    <a:pt x="2471" y="1628"/>
                  </a:lnTo>
                  <a:lnTo>
                    <a:pt x="2481" y="1627"/>
                  </a:lnTo>
                  <a:lnTo>
                    <a:pt x="2490" y="1624"/>
                  </a:lnTo>
                  <a:lnTo>
                    <a:pt x="2499" y="1622"/>
                  </a:lnTo>
                  <a:lnTo>
                    <a:pt x="2507" y="1618"/>
                  </a:lnTo>
                  <a:lnTo>
                    <a:pt x="2515" y="1612"/>
                  </a:lnTo>
                  <a:lnTo>
                    <a:pt x="2523" y="1606"/>
                  </a:lnTo>
                  <a:lnTo>
                    <a:pt x="2531" y="1599"/>
                  </a:lnTo>
                  <a:lnTo>
                    <a:pt x="2501" y="1568"/>
                  </a:lnTo>
                  <a:close/>
                  <a:moveTo>
                    <a:pt x="2420" y="1507"/>
                  </a:moveTo>
                  <a:lnTo>
                    <a:pt x="2420" y="1507"/>
                  </a:lnTo>
                  <a:lnTo>
                    <a:pt x="2421" y="1499"/>
                  </a:lnTo>
                  <a:lnTo>
                    <a:pt x="2422" y="1491"/>
                  </a:lnTo>
                  <a:lnTo>
                    <a:pt x="2426" y="1485"/>
                  </a:lnTo>
                  <a:lnTo>
                    <a:pt x="2430" y="1478"/>
                  </a:lnTo>
                  <a:lnTo>
                    <a:pt x="2436" y="1474"/>
                  </a:lnTo>
                  <a:lnTo>
                    <a:pt x="2442" y="1470"/>
                  </a:lnTo>
                  <a:lnTo>
                    <a:pt x="2449" y="1467"/>
                  </a:lnTo>
                  <a:lnTo>
                    <a:pt x="2455" y="1467"/>
                  </a:lnTo>
                  <a:lnTo>
                    <a:pt x="2455" y="1467"/>
                  </a:lnTo>
                  <a:lnTo>
                    <a:pt x="2465" y="1467"/>
                  </a:lnTo>
                  <a:lnTo>
                    <a:pt x="2471" y="1470"/>
                  </a:lnTo>
                  <a:lnTo>
                    <a:pt x="2478" y="1474"/>
                  </a:lnTo>
                  <a:lnTo>
                    <a:pt x="2483" y="1479"/>
                  </a:lnTo>
                  <a:lnTo>
                    <a:pt x="2487" y="1486"/>
                  </a:lnTo>
                  <a:lnTo>
                    <a:pt x="2490" y="1493"/>
                  </a:lnTo>
                  <a:lnTo>
                    <a:pt x="2491" y="1499"/>
                  </a:lnTo>
                  <a:lnTo>
                    <a:pt x="2493" y="1507"/>
                  </a:lnTo>
                  <a:lnTo>
                    <a:pt x="2420" y="1507"/>
                  </a:lnTo>
                  <a:close/>
                  <a:moveTo>
                    <a:pt x="2304" y="1558"/>
                  </a:moveTo>
                  <a:lnTo>
                    <a:pt x="2304" y="1558"/>
                  </a:lnTo>
                  <a:lnTo>
                    <a:pt x="2305" y="1568"/>
                  </a:lnTo>
                  <a:lnTo>
                    <a:pt x="2307" y="1574"/>
                  </a:lnTo>
                  <a:lnTo>
                    <a:pt x="2309" y="1576"/>
                  </a:lnTo>
                  <a:lnTo>
                    <a:pt x="2312" y="1580"/>
                  </a:lnTo>
                  <a:lnTo>
                    <a:pt x="2316" y="1582"/>
                  </a:lnTo>
                  <a:lnTo>
                    <a:pt x="2320" y="1583"/>
                  </a:lnTo>
                  <a:lnTo>
                    <a:pt x="2325" y="1583"/>
                  </a:lnTo>
                  <a:lnTo>
                    <a:pt x="2325" y="1583"/>
                  </a:lnTo>
                  <a:lnTo>
                    <a:pt x="2332" y="1583"/>
                  </a:lnTo>
                  <a:lnTo>
                    <a:pt x="2340" y="1580"/>
                  </a:lnTo>
                  <a:lnTo>
                    <a:pt x="2353" y="1575"/>
                  </a:lnTo>
                  <a:lnTo>
                    <a:pt x="2348" y="1620"/>
                  </a:lnTo>
                  <a:lnTo>
                    <a:pt x="2348" y="1620"/>
                  </a:lnTo>
                  <a:lnTo>
                    <a:pt x="2339" y="1624"/>
                  </a:lnTo>
                  <a:lnTo>
                    <a:pt x="2329" y="1627"/>
                  </a:lnTo>
                  <a:lnTo>
                    <a:pt x="2319" y="1628"/>
                  </a:lnTo>
                  <a:lnTo>
                    <a:pt x="2308" y="1630"/>
                  </a:lnTo>
                  <a:lnTo>
                    <a:pt x="2308" y="1630"/>
                  </a:lnTo>
                  <a:lnTo>
                    <a:pt x="2295" y="1628"/>
                  </a:lnTo>
                  <a:lnTo>
                    <a:pt x="2284" y="1623"/>
                  </a:lnTo>
                  <a:lnTo>
                    <a:pt x="2275" y="1618"/>
                  </a:lnTo>
                  <a:lnTo>
                    <a:pt x="2267" y="1610"/>
                  </a:lnTo>
                  <a:lnTo>
                    <a:pt x="2263" y="1600"/>
                  </a:lnTo>
                  <a:lnTo>
                    <a:pt x="2259" y="1590"/>
                  </a:lnTo>
                  <a:lnTo>
                    <a:pt x="2256" y="1580"/>
                  </a:lnTo>
                  <a:lnTo>
                    <a:pt x="2256" y="1570"/>
                  </a:lnTo>
                  <a:lnTo>
                    <a:pt x="2256" y="1475"/>
                  </a:lnTo>
                  <a:lnTo>
                    <a:pt x="2226" y="1475"/>
                  </a:lnTo>
                  <a:lnTo>
                    <a:pt x="2226" y="1430"/>
                  </a:lnTo>
                  <a:lnTo>
                    <a:pt x="2256" y="1430"/>
                  </a:lnTo>
                  <a:lnTo>
                    <a:pt x="2256" y="1381"/>
                  </a:lnTo>
                  <a:lnTo>
                    <a:pt x="2304" y="1357"/>
                  </a:lnTo>
                  <a:lnTo>
                    <a:pt x="2304" y="1430"/>
                  </a:lnTo>
                  <a:lnTo>
                    <a:pt x="2348" y="1430"/>
                  </a:lnTo>
                  <a:lnTo>
                    <a:pt x="2348" y="1475"/>
                  </a:lnTo>
                  <a:lnTo>
                    <a:pt x="2304" y="1475"/>
                  </a:lnTo>
                  <a:lnTo>
                    <a:pt x="2304" y="1558"/>
                  </a:lnTo>
                  <a:close/>
                  <a:moveTo>
                    <a:pt x="2211" y="1620"/>
                  </a:moveTo>
                  <a:lnTo>
                    <a:pt x="2211" y="1620"/>
                  </a:lnTo>
                  <a:lnTo>
                    <a:pt x="2202" y="1624"/>
                  </a:lnTo>
                  <a:lnTo>
                    <a:pt x="2192" y="1627"/>
                  </a:lnTo>
                  <a:lnTo>
                    <a:pt x="2182" y="1628"/>
                  </a:lnTo>
                  <a:lnTo>
                    <a:pt x="2171" y="1630"/>
                  </a:lnTo>
                  <a:lnTo>
                    <a:pt x="2171" y="1630"/>
                  </a:lnTo>
                  <a:lnTo>
                    <a:pt x="2158" y="1628"/>
                  </a:lnTo>
                  <a:lnTo>
                    <a:pt x="2146" y="1623"/>
                  </a:lnTo>
                  <a:lnTo>
                    <a:pt x="2138" y="1618"/>
                  </a:lnTo>
                  <a:lnTo>
                    <a:pt x="2130" y="1610"/>
                  </a:lnTo>
                  <a:lnTo>
                    <a:pt x="2125" y="1600"/>
                  </a:lnTo>
                  <a:lnTo>
                    <a:pt x="2122" y="1590"/>
                  </a:lnTo>
                  <a:lnTo>
                    <a:pt x="2119" y="1580"/>
                  </a:lnTo>
                  <a:lnTo>
                    <a:pt x="2119" y="1570"/>
                  </a:lnTo>
                  <a:lnTo>
                    <a:pt x="2119" y="1475"/>
                  </a:lnTo>
                  <a:lnTo>
                    <a:pt x="2089" y="1475"/>
                  </a:lnTo>
                  <a:lnTo>
                    <a:pt x="2089" y="1430"/>
                  </a:lnTo>
                  <a:lnTo>
                    <a:pt x="2119" y="1430"/>
                  </a:lnTo>
                  <a:lnTo>
                    <a:pt x="2119" y="1381"/>
                  </a:lnTo>
                  <a:lnTo>
                    <a:pt x="2167" y="1357"/>
                  </a:lnTo>
                  <a:lnTo>
                    <a:pt x="2167" y="1430"/>
                  </a:lnTo>
                  <a:lnTo>
                    <a:pt x="2207" y="1430"/>
                  </a:lnTo>
                  <a:lnTo>
                    <a:pt x="2207" y="1475"/>
                  </a:lnTo>
                  <a:lnTo>
                    <a:pt x="2167" y="1475"/>
                  </a:lnTo>
                  <a:lnTo>
                    <a:pt x="2167" y="1558"/>
                  </a:lnTo>
                  <a:lnTo>
                    <a:pt x="2167" y="1558"/>
                  </a:lnTo>
                  <a:lnTo>
                    <a:pt x="2168" y="1568"/>
                  </a:lnTo>
                  <a:lnTo>
                    <a:pt x="2170" y="1574"/>
                  </a:lnTo>
                  <a:lnTo>
                    <a:pt x="2171" y="1576"/>
                  </a:lnTo>
                  <a:lnTo>
                    <a:pt x="2175" y="1580"/>
                  </a:lnTo>
                  <a:lnTo>
                    <a:pt x="2178" y="1582"/>
                  </a:lnTo>
                  <a:lnTo>
                    <a:pt x="2183" y="1583"/>
                  </a:lnTo>
                  <a:lnTo>
                    <a:pt x="2187" y="1583"/>
                  </a:lnTo>
                  <a:lnTo>
                    <a:pt x="2187" y="1583"/>
                  </a:lnTo>
                  <a:lnTo>
                    <a:pt x="2195" y="1583"/>
                  </a:lnTo>
                  <a:lnTo>
                    <a:pt x="2203" y="1580"/>
                  </a:lnTo>
                  <a:lnTo>
                    <a:pt x="2216" y="1575"/>
                  </a:lnTo>
                  <a:lnTo>
                    <a:pt x="2211" y="1620"/>
                  </a:lnTo>
                  <a:close/>
                  <a:moveTo>
                    <a:pt x="2684" y="1485"/>
                  </a:moveTo>
                  <a:lnTo>
                    <a:pt x="2684" y="1485"/>
                  </a:lnTo>
                  <a:lnTo>
                    <a:pt x="2676" y="1481"/>
                  </a:lnTo>
                  <a:lnTo>
                    <a:pt x="2668" y="1477"/>
                  </a:lnTo>
                  <a:lnTo>
                    <a:pt x="2660" y="1475"/>
                  </a:lnTo>
                  <a:lnTo>
                    <a:pt x="2652" y="1474"/>
                  </a:lnTo>
                  <a:lnTo>
                    <a:pt x="2652" y="1474"/>
                  </a:lnTo>
                  <a:lnTo>
                    <a:pt x="2644" y="1475"/>
                  </a:lnTo>
                  <a:lnTo>
                    <a:pt x="2636" y="1477"/>
                  </a:lnTo>
                  <a:lnTo>
                    <a:pt x="2631" y="1481"/>
                  </a:lnTo>
                  <a:lnTo>
                    <a:pt x="2626" y="1486"/>
                  </a:lnTo>
                  <a:lnTo>
                    <a:pt x="2622" y="1491"/>
                  </a:lnTo>
                  <a:lnTo>
                    <a:pt x="2619" y="1499"/>
                  </a:lnTo>
                  <a:lnTo>
                    <a:pt x="2618" y="1509"/>
                  </a:lnTo>
                  <a:lnTo>
                    <a:pt x="2618" y="1519"/>
                  </a:lnTo>
                  <a:lnTo>
                    <a:pt x="2618" y="1624"/>
                  </a:lnTo>
                  <a:lnTo>
                    <a:pt x="2570" y="1624"/>
                  </a:lnTo>
                  <a:lnTo>
                    <a:pt x="2570" y="1430"/>
                  </a:lnTo>
                  <a:lnTo>
                    <a:pt x="2618" y="1430"/>
                  </a:lnTo>
                  <a:lnTo>
                    <a:pt x="2618" y="1447"/>
                  </a:lnTo>
                  <a:lnTo>
                    <a:pt x="2618" y="1447"/>
                  </a:lnTo>
                  <a:lnTo>
                    <a:pt x="2627" y="1438"/>
                  </a:lnTo>
                  <a:lnTo>
                    <a:pt x="2638" y="1431"/>
                  </a:lnTo>
                  <a:lnTo>
                    <a:pt x="2648" y="1427"/>
                  </a:lnTo>
                  <a:lnTo>
                    <a:pt x="2660" y="1426"/>
                  </a:lnTo>
                  <a:lnTo>
                    <a:pt x="2660" y="1426"/>
                  </a:lnTo>
                  <a:lnTo>
                    <a:pt x="2671" y="1427"/>
                  </a:lnTo>
                  <a:lnTo>
                    <a:pt x="2680" y="1429"/>
                  </a:lnTo>
                  <a:lnTo>
                    <a:pt x="2689" y="1433"/>
                  </a:lnTo>
                  <a:lnTo>
                    <a:pt x="2696" y="1438"/>
                  </a:lnTo>
                  <a:lnTo>
                    <a:pt x="2684" y="1485"/>
                  </a:lnTo>
                  <a:close/>
                  <a:moveTo>
                    <a:pt x="517" y="1382"/>
                  </a:moveTo>
                  <a:lnTo>
                    <a:pt x="517" y="1402"/>
                  </a:lnTo>
                  <a:lnTo>
                    <a:pt x="469" y="1402"/>
                  </a:lnTo>
                  <a:lnTo>
                    <a:pt x="469" y="1354"/>
                  </a:lnTo>
                  <a:lnTo>
                    <a:pt x="517" y="1354"/>
                  </a:lnTo>
                  <a:lnTo>
                    <a:pt x="517" y="1382"/>
                  </a:lnTo>
                  <a:close/>
                  <a:moveTo>
                    <a:pt x="852" y="1430"/>
                  </a:moveTo>
                  <a:lnTo>
                    <a:pt x="900" y="1430"/>
                  </a:lnTo>
                  <a:lnTo>
                    <a:pt x="900" y="1513"/>
                  </a:lnTo>
                  <a:lnTo>
                    <a:pt x="900" y="1624"/>
                  </a:lnTo>
                  <a:lnTo>
                    <a:pt x="852" y="1624"/>
                  </a:lnTo>
                  <a:lnTo>
                    <a:pt x="852" y="1430"/>
                  </a:lnTo>
                  <a:close/>
                  <a:moveTo>
                    <a:pt x="900" y="1378"/>
                  </a:moveTo>
                  <a:lnTo>
                    <a:pt x="900" y="1402"/>
                  </a:lnTo>
                  <a:lnTo>
                    <a:pt x="852" y="1402"/>
                  </a:lnTo>
                  <a:lnTo>
                    <a:pt x="852" y="1354"/>
                  </a:lnTo>
                  <a:lnTo>
                    <a:pt x="900" y="1354"/>
                  </a:lnTo>
                  <a:lnTo>
                    <a:pt x="900" y="1378"/>
                  </a:lnTo>
                  <a:close/>
                  <a:moveTo>
                    <a:pt x="2218" y="1784"/>
                  </a:moveTo>
                  <a:lnTo>
                    <a:pt x="2218" y="1784"/>
                  </a:lnTo>
                  <a:lnTo>
                    <a:pt x="2208" y="1776"/>
                  </a:lnTo>
                  <a:lnTo>
                    <a:pt x="2198" y="1770"/>
                  </a:lnTo>
                  <a:lnTo>
                    <a:pt x="2186" y="1766"/>
                  </a:lnTo>
                  <a:lnTo>
                    <a:pt x="2174" y="1765"/>
                  </a:lnTo>
                  <a:lnTo>
                    <a:pt x="2174" y="1765"/>
                  </a:lnTo>
                  <a:lnTo>
                    <a:pt x="2166" y="1766"/>
                  </a:lnTo>
                  <a:lnTo>
                    <a:pt x="2158" y="1768"/>
                  </a:lnTo>
                  <a:lnTo>
                    <a:pt x="2150" y="1769"/>
                  </a:lnTo>
                  <a:lnTo>
                    <a:pt x="2142" y="1773"/>
                  </a:lnTo>
                  <a:lnTo>
                    <a:pt x="2135" y="1777"/>
                  </a:lnTo>
                  <a:lnTo>
                    <a:pt x="2129" y="1781"/>
                  </a:lnTo>
                  <a:lnTo>
                    <a:pt x="2123" y="1786"/>
                  </a:lnTo>
                  <a:lnTo>
                    <a:pt x="2118" y="1793"/>
                  </a:lnTo>
                  <a:lnTo>
                    <a:pt x="2114" y="1800"/>
                  </a:lnTo>
                  <a:lnTo>
                    <a:pt x="2110" y="1806"/>
                  </a:lnTo>
                  <a:lnTo>
                    <a:pt x="2103" y="1824"/>
                  </a:lnTo>
                  <a:lnTo>
                    <a:pt x="2099" y="1844"/>
                  </a:lnTo>
                  <a:lnTo>
                    <a:pt x="2098" y="1865"/>
                  </a:lnTo>
                  <a:lnTo>
                    <a:pt x="2098" y="1865"/>
                  </a:lnTo>
                  <a:lnTo>
                    <a:pt x="2099" y="1889"/>
                  </a:lnTo>
                  <a:lnTo>
                    <a:pt x="2103" y="1909"/>
                  </a:lnTo>
                  <a:lnTo>
                    <a:pt x="2109" y="1926"/>
                  </a:lnTo>
                  <a:lnTo>
                    <a:pt x="2113" y="1934"/>
                  </a:lnTo>
                  <a:lnTo>
                    <a:pt x="2118" y="1941"/>
                  </a:lnTo>
                  <a:lnTo>
                    <a:pt x="2123" y="1947"/>
                  </a:lnTo>
                  <a:lnTo>
                    <a:pt x="2129" y="1953"/>
                  </a:lnTo>
                  <a:lnTo>
                    <a:pt x="2135" y="1958"/>
                  </a:lnTo>
                  <a:lnTo>
                    <a:pt x="2142" y="1962"/>
                  </a:lnTo>
                  <a:lnTo>
                    <a:pt x="2149" y="1965"/>
                  </a:lnTo>
                  <a:lnTo>
                    <a:pt x="2157" y="1967"/>
                  </a:lnTo>
                  <a:lnTo>
                    <a:pt x="2165" y="1969"/>
                  </a:lnTo>
                  <a:lnTo>
                    <a:pt x="2172" y="1969"/>
                  </a:lnTo>
                  <a:lnTo>
                    <a:pt x="2172" y="1969"/>
                  </a:lnTo>
                  <a:lnTo>
                    <a:pt x="2184" y="1967"/>
                  </a:lnTo>
                  <a:lnTo>
                    <a:pt x="2196" y="1963"/>
                  </a:lnTo>
                  <a:lnTo>
                    <a:pt x="2207" y="1958"/>
                  </a:lnTo>
                  <a:lnTo>
                    <a:pt x="2218" y="1950"/>
                  </a:lnTo>
                  <a:lnTo>
                    <a:pt x="2218" y="1965"/>
                  </a:lnTo>
                  <a:lnTo>
                    <a:pt x="2265" y="1965"/>
                  </a:lnTo>
                  <a:lnTo>
                    <a:pt x="2265" y="1689"/>
                  </a:lnTo>
                  <a:lnTo>
                    <a:pt x="2218" y="1713"/>
                  </a:lnTo>
                  <a:lnTo>
                    <a:pt x="2218" y="1784"/>
                  </a:lnTo>
                  <a:close/>
                  <a:moveTo>
                    <a:pt x="2183" y="1925"/>
                  </a:moveTo>
                  <a:lnTo>
                    <a:pt x="2183" y="1925"/>
                  </a:lnTo>
                  <a:lnTo>
                    <a:pt x="2176" y="1923"/>
                  </a:lnTo>
                  <a:lnTo>
                    <a:pt x="2171" y="1922"/>
                  </a:lnTo>
                  <a:lnTo>
                    <a:pt x="2165" y="1918"/>
                  </a:lnTo>
                  <a:lnTo>
                    <a:pt x="2159" y="1913"/>
                  </a:lnTo>
                  <a:lnTo>
                    <a:pt x="2154" y="1905"/>
                  </a:lnTo>
                  <a:lnTo>
                    <a:pt x="2150" y="1894"/>
                  </a:lnTo>
                  <a:lnTo>
                    <a:pt x="2147" y="1881"/>
                  </a:lnTo>
                  <a:lnTo>
                    <a:pt x="2147" y="1864"/>
                  </a:lnTo>
                  <a:lnTo>
                    <a:pt x="2147" y="1864"/>
                  </a:lnTo>
                  <a:lnTo>
                    <a:pt x="2147" y="1849"/>
                  </a:lnTo>
                  <a:lnTo>
                    <a:pt x="2150" y="1837"/>
                  </a:lnTo>
                  <a:lnTo>
                    <a:pt x="2154" y="1828"/>
                  </a:lnTo>
                  <a:lnTo>
                    <a:pt x="2159" y="1820"/>
                  </a:lnTo>
                  <a:lnTo>
                    <a:pt x="2165" y="1816"/>
                  </a:lnTo>
                  <a:lnTo>
                    <a:pt x="2170" y="1812"/>
                  </a:lnTo>
                  <a:lnTo>
                    <a:pt x="2176" y="1810"/>
                  </a:lnTo>
                  <a:lnTo>
                    <a:pt x="2183" y="1810"/>
                  </a:lnTo>
                  <a:lnTo>
                    <a:pt x="2183" y="1810"/>
                  </a:lnTo>
                  <a:lnTo>
                    <a:pt x="2190" y="1810"/>
                  </a:lnTo>
                  <a:lnTo>
                    <a:pt x="2195" y="1812"/>
                  </a:lnTo>
                  <a:lnTo>
                    <a:pt x="2200" y="1813"/>
                  </a:lnTo>
                  <a:lnTo>
                    <a:pt x="2204" y="1816"/>
                  </a:lnTo>
                  <a:lnTo>
                    <a:pt x="2212" y="1822"/>
                  </a:lnTo>
                  <a:lnTo>
                    <a:pt x="2218" y="1829"/>
                  </a:lnTo>
                  <a:lnTo>
                    <a:pt x="2218" y="1905"/>
                  </a:lnTo>
                  <a:lnTo>
                    <a:pt x="2218" y="1905"/>
                  </a:lnTo>
                  <a:lnTo>
                    <a:pt x="2211" y="1911"/>
                  </a:lnTo>
                  <a:lnTo>
                    <a:pt x="2204" y="1918"/>
                  </a:lnTo>
                  <a:lnTo>
                    <a:pt x="2200" y="1921"/>
                  </a:lnTo>
                  <a:lnTo>
                    <a:pt x="2195" y="1922"/>
                  </a:lnTo>
                  <a:lnTo>
                    <a:pt x="2190" y="1923"/>
                  </a:lnTo>
                  <a:lnTo>
                    <a:pt x="2183" y="1925"/>
                  </a:lnTo>
                  <a:lnTo>
                    <a:pt x="2183" y="1925"/>
                  </a:lnTo>
                  <a:close/>
                  <a:moveTo>
                    <a:pt x="587" y="1825"/>
                  </a:moveTo>
                  <a:lnTo>
                    <a:pt x="587" y="1825"/>
                  </a:lnTo>
                  <a:lnTo>
                    <a:pt x="579" y="1820"/>
                  </a:lnTo>
                  <a:lnTo>
                    <a:pt x="571" y="1817"/>
                  </a:lnTo>
                  <a:lnTo>
                    <a:pt x="563" y="1814"/>
                  </a:lnTo>
                  <a:lnTo>
                    <a:pt x="555" y="1814"/>
                  </a:lnTo>
                  <a:lnTo>
                    <a:pt x="555" y="1814"/>
                  </a:lnTo>
                  <a:lnTo>
                    <a:pt x="547" y="1814"/>
                  </a:lnTo>
                  <a:lnTo>
                    <a:pt x="539" y="1817"/>
                  </a:lnTo>
                  <a:lnTo>
                    <a:pt x="534" y="1820"/>
                  </a:lnTo>
                  <a:lnTo>
                    <a:pt x="529" y="1825"/>
                  </a:lnTo>
                  <a:lnTo>
                    <a:pt x="525" y="1832"/>
                  </a:lnTo>
                  <a:lnTo>
                    <a:pt x="522" y="1840"/>
                  </a:lnTo>
                  <a:lnTo>
                    <a:pt x="521" y="1848"/>
                  </a:lnTo>
                  <a:lnTo>
                    <a:pt x="521" y="1860"/>
                  </a:lnTo>
                  <a:lnTo>
                    <a:pt x="521" y="1965"/>
                  </a:lnTo>
                  <a:lnTo>
                    <a:pt x="473" y="1965"/>
                  </a:lnTo>
                  <a:lnTo>
                    <a:pt x="473" y="1770"/>
                  </a:lnTo>
                  <a:lnTo>
                    <a:pt x="521" y="1770"/>
                  </a:lnTo>
                  <a:lnTo>
                    <a:pt x="521" y="1786"/>
                  </a:lnTo>
                  <a:lnTo>
                    <a:pt x="521" y="1786"/>
                  </a:lnTo>
                  <a:lnTo>
                    <a:pt x="530" y="1777"/>
                  </a:lnTo>
                  <a:lnTo>
                    <a:pt x="539" y="1770"/>
                  </a:lnTo>
                  <a:lnTo>
                    <a:pt x="551" y="1766"/>
                  </a:lnTo>
                  <a:lnTo>
                    <a:pt x="563" y="1766"/>
                  </a:lnTo>
                  <a:lnTo>
                    <a:pt x="563" y="1766"/>
                  </a:lnTo>
                  <a:lnTo>
                    <a:pt x="573" y="1766"/>
                  </a:lnTo>
                  <a:lnTo>
                    <a:pt x="583" y="1769"/>
                  </a:lnTo>
                  <a:lnTo>
                    <a:pt x="593" y="1773"/>
                  </a:lnTo>
                  <a:lnTo>
                    <a:pt x="599" y="1777"/>
                  </a:lnTo>
                  <a:lnTo>
                    <a:pt x="587" y="1825"/>
                  </a:lnTo>
                  <a:close/>
                  <a:moveTo>
                    <a:pt x="210" y="1770"/>
                  </a:moveTo>
                  <a:lnTo>
                    <a:pt x="256" y="1770"/>
                  </a:lnTo>
                  <a:lnTo>
                    <a:pt x="202" y="1965"/>
                  </a:lnTo>
                  <a:lnTo>
                    <a:pt x="161" y="1965"/>
                  </a:lnTo>
                  <a:lnTo>
                    <a:pt x="140" y="1883"/>
                  </a:lnTo>
                  <a:lnTo>
                    <a:pt x="140" y="1883"/>
                  </a:lnTo>
                  <a:lnTo>
                    <a:pt x="129" y="1841"/>
                  </a:lnTo>
                  <a:lnTo>
                    <a:pt x="129" y="1841"/>
                  </a:lnTo>
                  <a:lnTo>
                    <a:pt x="124" y="1862"/>
                  </a:lnTo>
                  <a:lnTo>
                    <a:pt x="118" y="1885"/>
                  </a:lnTo>
                  <a:lnTo>
                    <a:pt x="97" y="1965"/>
                  </a:lnTo>
                  <a:lnTo>
                    <a:pt x="54" y="1965"/>
                  </a:lnTo>
                  <a:lnTo>
                    <a:pt x="54" y="1963"/>
                  </a:lnTo>
                  <a:lnTo>
                    <a:pt x="0" y="1770"/>
                  </a:lnTo>
                  <a:lnTo>
                    <a:pt x="49" y="1770"/>
                  </a:lnTo>
                  <a:lnTo>
                    <a:pt x="68" y="1842"/>
                  </a:lnTo>
                  <a:lnTo>
                    <a:pt x="68" y="1842"/>
                  </a:lnTo>
                  <a:lnTo>
                    <a:pt x="73" y="1865"/>
                  </a:lnTo>
                  <a:lnTo>
                    <a:pt x="77" y="1890"/>
                  </a:lnTo>
                  <a:lnTo>
                    <a:pt x="77" y="1890"/>
                  </a:lnTo>
                  <a:lnTo>
                    <a:pt x="82" y="1865"/>
                  </a:lnTo>
                  <a:lnTo>
                    <a:pt x="89" y="1841"/>
                  </a:lnTo>
                  <a:lnTo>
                    <a:pt x="109" y="1770"/>
                  </a:lnTo>
                  <a:lnTo>
                    <a:pt x="150" y="1770"/>
                  </a:lnTo>
                  <a:lnTo>
                    <a:pt x="170" y="1841"/>
                  </a:lnTo>
                  <a:lnTo>
                    <a:pt x="170" y="1841"/>
                  </a:lnTo>
                  <a:lnTo>
                    <a:pt x="177" y="1865"/>
                  </a:lnTo>
                  <a:lnTo>
                    <a:pt x="182" y="1890"/>
                  </a:lnTo>
                  <a:lnTo>
                    <a:pt x="182" y="1890"/>
                  </a:lnTo>
                  <a:lnTo>
                    <a:pt x="191" y="1841"/>
                  </a:lnTo>
                  <a:lnTo>
                    <a:pt x="210" y="1770"/>
                  </a:lnTo>
                  <a:close/>
                  <a:moveTo>
                    <a:pt x="355" y="1765"/>
                  </a:moveTo>
                  <a:lnTo>
                    <a:pt x="355" y="1765"/>
                  </a:lnTo>
                  <a:lnTo>
                    <a:pt x="345" y="1766"/>
                  </a:lnTo>
                  <a:lnTo>
                    <a:pt x="336" y="1768"/>
                  </a:lnTo>
                  <a:lnTo>
                    <a:pt x="328" y="1770"/>
                  </a:lnTo>
                  <a:lnTo>
                    <a:pt x="319" y="1773"/>
                  </a:lnTo>
                  <a:lnTo>
                    <a:pt x="312" y="1777"/>
                  </a:lnTo>
                  <a:lnTo>
                    <a:pt x="304" y="1782"/>
                  </a:lnTo>
                  <a:lnTo>
                    <a:pt x="298" y="1788"/>
                  </a:lnTo>
                  <a:lnTo>
                    <a:pt x="291" y="1794"/>
                  </a:lnTo>
                  <a:lnTo>
                    <a:pt x="286" y="1801"/>
                  </a:lnTo>
                  <a:lnTo>
                    <a:pt x="280" y="1809"/>
                  </a:lnTo>
                  <a:lnTo>
                    <a:pt x="276" y="1817"/>
                  </a:lnTo>
                  <a:lnTo>
                    <a:pt x="274" y="1826"/>
                  </a:lnTo>
                  <a:lnTo>
                    <a:pt x="270" y="1836"/>
                  </a:lnTo>
                  <a:lnTo>
                    <a:pt x="268" y="1846"/>
                  </a:lnTo>
                  <a:lnTo>
                    <a:pt x="267" y="1857"/>
                  </a:lnTo>
                  <a:lnTo>
                    <a:pt x="267" y="1868"/>
                  </a:lnTo>
                  <a:lnTo>
                    <a:pt x="267" y="1868"/>
                  </a:lnTo>
                  <a:lnTo>
                    <a:pt x="267" y="1878"/>
                  </a:lnTo>
                  <a:lnTo>
                    <a:pt x="268" y="1889"/>
                  </a:lnTo>
                  <a:lnTo>
                    <a:pt x="270" y="1898"/>
                  </a:lnTo>
                  <a:lnTo>
                    <a:pt x="274" y="1907"/>
                  </a:lnTo>
                  <a:lnTo>
                    <a:pt x="276" y="1917"/>
                  </a:lnTo>
                  <a:lnTo>
                    <a:pt x="280" y="1925"/>
                  </a:lnTo>
                  <a:lnTo>
                    <a:pt x="286" y="1933"/>
                  </a:lnTo>
                  <a:lnTo>
                    <a:pt x="291" y="1939"/>
                  </a:lnTo>
                  <a:lnTo>
                    <a:pt x="298" y="1946"/>
                  </a:lnTo>
                  <a:lnTo>
                    <a:pt x="304" y="1953"/>
                  </a:lnTo>
                  <a:lnTo>
                    <a:pt x="312" y="1957"/>
                  </a:lnTo>
                  <a:lnTo>
                    <a:pt x="319" y="1961"/>
                  </a:lnTo>
                  <a:lnTo>
                    <a:pt x="328" y="1965"/>
                  </a:lnTo>
                  <a:lnTo>
                    <a:pt x="336" y="1967"/>
                  </a:lnTo>
                  <a:lnTo>
                    <a:pt x="345" y="1969"/>
                  </a:lnTo>
                  <a:lnTo>
                    <a:pt x="355" y="1969"/>
                  </a:lnTo>
                  <a:lnTo>
                    <a:pt x="355" y="1969"/>
                  </a:lnTo>
                  <a:lnTo>
                    <a:pt x="364" y="1969"/>
                  </a:lnTo>
                  <a:lnTo>
                    <a:pt x="373" y="1967"/>
                  </a:lnTo>
                  <a:lnTo>
                    <a:pt x="381" y="1965"/>
                  </a:lnTo>
                  <a:lnTo>
                    <a:pt x="391" y="1961"/>
                  </a:lnTo>
                  <a:lnTo>
                    <a:pt x="397" y="1957"/>
                  </a:lnTo>
                  <a:lnTo>
                    <a:pt x="405" y="1953"/>
                  </a:lnTo>
                  <a:lnTo>
                    <a:pt x="412" y="1946"/>
                  </a:lnTo>
                  <a:lnTo>
                    <a:pt x="419" y="1939"/>
                  </a:lnTo>
                  <a:lnTo>
                    <a:pt x="424" y="1933"/>
                  </a:lnTo>
                  <a:lnTo>
                    <a:pt x="429" y="1925"/>
                  </a:lnTo>
                  <a:lnTo>
                    <a:pt x="433" y="1917"/>
                  </a:lnTo>
                  <a:lnTo>
                    <a:pt x="436" y="1907"/>
                  </a:lnTo>
                  <a:lnTo>
                    <a:pt x="440" y="1898"/>
                  </a:lnTo>
                  <a:lnTo>
                    <a:pt x="441" y="1889"/>
                  </a:lnTo>
                  <a:lnTo>
                    <a:pt x="442" y="1878"/>
                  </a:lnTo>
                  <a:lnTo>
                    <a:pt x="442" y="1868"/>
                  </a:lnTo>
                  <a:lnTo>
                    <a:pt x="442" y="1868"/>
                  </a:lnTo>
                  <a:lnTo>
                    <a:pt x="442" y="1857"/>
                  </a:lnTo>
                  <a:lnTo>
                    <a:pt x="441" y="1846"/>
                  </a:lnTo>
                  <a:lnTo>
                    <a:pt x="440" y="1836"/>
                  </a:lnTo>
                  <a:lnTo>
                    <a:pt x="436" y="1826"/>
                  </a:lnTo>
                  <a:lnTo>
                    <a:pt x="433" y="1817"/>
                  </a:lnTo>
                  <a:lnTo>
                    <a:pt x="429" y="1809"/>
                  </a:lnTo>
                  <a:lnTo>
                    <a:pt x="424" y="1801"/>
                  </a:lnTo>
                  <a:lnTo>
                    <a:pt x="419" y="1794"/>
                  </a:lnTo>
                  <a:lnTo>
                    <a:pt x="412" y="1788"/>
                  </a:lnTo>
                  <a:lnTo>
                    <a:pt x="405" y="1782"/>
                  </a:lnTo>
                  <a:lnTo>
                    <a:pt x="397" y="1777"/>
                  </a:lnTo>
                  <a:lnTo>
                    <a:pt x="391" y="1773"/>
                  </a:lnTo>
                  <a:lnTo>
                    <a:pt x="381" y="1770"/>
                  </a:lnTo>
                  <a:lnTo>
                    <a:pt x="373" y="1768"/>
                  </a:lnTo>
                  <a:lnTo>
                    <a:pt x="364" y="1766"/>
                  </a:lnTo>
                  <a:lnTo>
                    <a:pt x="355" y="1765"/>
                  </a:lnTo>
                  <a:lnTo>
                    <a:pt x="355" y="1765"/>
                  </a:lnTo>
                  <a:close/>
                  <a:moveTo>
                    <a:pt x="355" y="1923"/>
                  </a:moveTo>
                  <a:lnTo>
                    <a:pt x="355" y="1923"/>
                  </a:lnTo>
                  <a:lnTo>
                    <a:pt x="347" y="1922"/>
                  </a:lnTo>
                  <a:lnTo>
                    <a:pt x="339" y="1919"/>
                  </a:lnTo>
                  <a:lnTo>
                    <a:pt x="332" y="1914"/>
                  </a:lnTo>
                  <a:lnTo>
                    <a:pt x="326" y="1907"/>
                  </a:lnTo>
                  <a:lnTo>
                    <a:pt x="322" y="1899"/>
                  </a:lnTo>
                  <a:lnTo>
                    <a:pt x="318" y="1890"/>
                  </a:lnTo>
                  <a:lnTo>
                    <a:pt x="316" y="1879"/>
                  </a:lnTo>
                  <a:lnTo>
                    <a:pt x="315" y="1868"/>
                  </a:lnTo>
                  <a:lnTo>
                    <a:pt x="315" y="1868"/>
                  </a:lnTo>
                  <a:lnTo>
                    <a:pt x="316" y="1854"/>
                  </a:lnTo>
                  <a:lnTo>
                    <a:pt x="318" y="1844"/>
                  </a:lnTo>
                  <a:lnTo>
                    <a:pt x="322" y="1834"/>
                  </a:lnTo>
                  <a:lnTo>
                    <a:pt x="326" y="1826"/>
                  </a:lnTo>
                  <a:lnTo>
                    <a:pt x="332" y="1820"/>
                  </a:lnTo>
                  <a:lnTo>
                    <a:pt x="339" y="1814"/>
                  </a:lnTo>
                  <a:lnTo>
                    <a:pt x="347" y="1812"/>
                  </a:lnTo>
                  <a:lnTo>
                    <a:pt x="355" y="1810"/>
                  </a:lnTo>
                  <a:lnTo>
                    <a:pt x="355" y="1810"/>
                  </a:lnTo>
                  <a:lnTo>
                    <a:pt x="363" y="1812"/>
                  </a:lnTo>
                  <a:lnTo>
                    <a:pt x="371" y="1814"/>
                  </a:lnTo>
                  <a:lnTo>
                    <a:pt x="377" y="1820"/>
                  </a:lnTo>
                  <a:lnTo>
                    <a:pt x="384" y="1826"/>
                  </a:lnTo>
                  <a:lnTo>
                    <a:pt x="388" y="1834"/>
                  </a:lnTo>
                  <a:lnTo>
                    <a:pt x="392" y="1844"/>
                  </a:lnTo>
                  <a:lnTo>
                    <a:pt x="393" y="1854"/>
                  </a:lnTo>
                  <a:lnTo>
                    <a:pt x="395" y="1868"/>
                  </a:lnTo>
                  <a:lnTo>
                    <a:pt x="395" y="1868"/>
                  </a:lnTo>
                  <a:lnTo>
                    <a:pt x="393" y="1879"/>
                  </a:lnTo>
                  <a:lnTo>
                    <a:pt x="392" y="1890"/>
                  </a:lnTo>
                  <a:lnTo>
                    <a:pt x="388" y="1899"/>
                  </a:lnTo>
                  <a:lnTo>
                    <a:pt x="384" y="1907"/>
                  </a:lnTo>
                  <a:lnTo>
                    <a:pt x="377" y="1914"/>
                  </a:lnTo>
                  <a:lnTo>
                    <a:pt x="371" y="1919"/>
                  </a:lnTo>
                  <a:lnTo>
                    <a:pt x="363" y="1922"/>
                  </a:lnTo>
                  <a:lnTo>
                    <a:pt x="355" y="1923"/>
                  </a:lnTo>
                  <a:lnTo>
                    <a:pt x="355" y="1923"/>
                  </a:lnTo>
                  <a:close/>
                  <a:moveTo>
                    <a:pt x="1981" y="1825"/>
                  </a:moveTo>
                  <a:lnTo>
                    <a:pt x="1981" y="1825"/>
                  </a:lnTo>
                  <a:lnTo>
                    <a:pt x="1973" y="1820"/>
                  </a:lnTo>
                  <a:lnTo>
                    <a:pt x="1965" y="1817"/>
                  </a:lnTo>
                  <a:lnTo>
                    <a:pt x="1957" y="1814"/>
                  </a:lnTo>
                  <a:lnTo>
                    <a:pt x="1949" y="1814"/>
                  </a:lnTo>
                  <a:lnTo>
                    <a:pt x="1949" y="1814"/>
                  </a:lnTo>
                  <a:lnTo>
                    <a:pt x="1941" y="1814"/>
                  </a:lnTo>
                  <a:lnTo>
                    <a:pt x="1933" y="1817"/>
                  </a:lnTo>
                  <a:lnTo>
                    <a:pt x="1928" y="1820"/>
                  </a:lnTo>
                  <a:lnTo>
                    <a:pt x="1923" y="1825"/>
                  </a:lnTo>
                  <a:lnTo>
                    <a:pt x="1919" y="1832"/>
                  </a:lnTo>
                  <a:lnTo>
                    <a:pt x="1916" y="1840"/>
                  </a:lnTo>
                  <a:lnTo>
                    <a:pt x="1915" y="1848"/>
                  </a:lnTo>
                  <a:lnTo>
                    <a:pt x="1915" y="1860"/>
                  </a:lnTo>
                  <a:lnTo>
                    <a:pt x="1915" y="1965"/>
                  </a:lnTo>
                  <a:lnTo>
                    <a:pt x="1867" y="1965"/>
                  </a:lnTo>
                  <a:lnTo>
                    <a:pt x="1867" y="1770"/>
                  </a:lnTo>
                  <a:lnTo>
                    <a:pt x="1915" y="1770"/>
                  </a:lnTo>
                  <a:lnTo>
                    <a:pt x="1915" y="1786"/>
                  </a:lnTo>
                  <a:lnTo>
                    <a:pt x="1915" y="1786"/>
                  </a:lnTo>
                  <a:lnTo>
                    <a:pt x="1924" y="1777"/>
                  </a:lnTo>
                  <a:lnTo>
                    <a:pt x="1933" y="1770"/>
                  </a:lnTo>
                  <a:lnTo>
                    <a:pt x="1945" y="1766"/>
                  </a:lnTo>
                  <a:lnTo>
                    <a:pt x="1957" y="1766"/>
                  </a:lnTo>
                  <a:lnTo>
                    <a:pt x="1957" y="1766"/>
                  </a:lnTo>
                  <a:lnTo>
                    <a:pt x="1967" y="1766"/>
                  </a:lnTo>
                  <a:lnTo>
                    <a:pt x="1977" y="1769"/>
                  </a:lnTo>
                  <a:lnTo>
                    <a:pt x="1985" y="1773"/>
                  </a:lnTo>
                  <a:lnTo>
                    <a:pt x="1993" y="1777"/>
                  </a:lnTo>
                  <a:lnTo>
                    <a:pt x="1981" y="1825"/>
                  </a:lnTo>
                  <a:close/>
                  <a:moveTo>
                    <a:pt x="1604" y="1770"/>
                  </a:moveTo>
                  <a:lnTo>
                    <a:pt x="1650" y="1770"/>
                  </a:lnTo>
                  <a:lnTo>
                    <a:pt x="1596" y="1965"/>
                  </a:lnTo>
                  <a:lnTo>
                    <a:pt x="1555" y="1965"/>
                  </a:lnTo>
                  <a:lnTo>
                    <a:pt x="1533" y="1883"/>
                  </a:lnTo>
                  <a:lnTo>
                    <a:pt x="1533" y="1883"/>
                  </a:lnTo>
                  <a:lnTo>
                    <a:pt x="1523" y="1841"/>
                  </a:lnTo>
                  <a:lnTo>
                    <a:pt x="1523" y="1841"/>
                  </a:lnTo>
                  <a:lnTo>
                    <a:pt x="1517" y="1862"/>
                  </a:lnTo>
                  <a:lnTo>
                    <a:pt x="1512" y="1885"/>
                  </a:lnTo>
                  <a:lnTo>
                    <a:pt x="1491" y="1965"/>
                  </a:lnTo>
                  <a:lnTo>
                    <a:pt x="1448" y="1965"/>
                  </a:lnTo>
                  <a:lnTo>
                    <a:pt x="1448" y="1963"/>
                  </a:lnTo>
                  <a:lnTo>
                    <a:pt x="1394" y="1770"/>
                  </a:lnTo>
                  <a:lnTo>
                    <a:pt x="1443" y="1770"/>
                  </a:lnTo>
                  <a:lnTo>
                    <a:pt x="1462" y="1842"/>
                  </a:lnTo>
                  <a:lnTo>
                    <a:pt x="1462" y="1842"/>
                  </a:lnTo>
                  <a:lnTo>
                    <a:pt x="1467" y="1865"/>
                  </a:lnTo>
                  <a:lnTo>
                    <a:pt x="1471" y="1890"/>
                  </a:lnTo>
                  <a:lnTo>
                    <a:pt x="1471" y="1890"/>
                  </a:lnTo>
                  <a:lnTo>
                    <a:pt x="1476" y="1865"/>
                  </a:lnTo>
                  <a:lnTo>
                    <a:pt x="1483" y="1841"/>
                  </a:lnTo>
                  <a:lnTo>
                    <a:pt x="1503" y="1770"/>
                  </a:lnTo>
                  <a:lnTo>
                    <a:pt x="1544" y="1770"/>
                  </a:lnTo>
                  <a:lnTo>
                    <a:pt x="1564" y="1841"/>
                  </a:lnTo>
                  <a:lnTo>
                    <a:pt x="1564" y="1841"/>
                  </a:lnTo>
                  <a:lnTo>
                    <a:pt x="1569" y="1865"/>
                  </a:lnTo>
                  <a:lnTo>
                    <a:pt x="1576" y="1890"/>
                  </a:lnTo>
                  <a:lnTo>
                    <a:pt x="1576" y="1890"/>
                  </a:lnTo>
                  <a:lnTo>
                    <a:pt x="1585" y="1841"/>
                  </a:lnTo>
                  <a:lnTo>
                    <a:pt x="1604" y="1770"/>
                  </a:lnTo>
                  <a:close/>
                  <a:moveTo>
                    <a:pt x="1749" y="1765"/>
                  </a:moveTo>
                  <a:lnTo>
                    <a:pt x="1749" y="1765"/>
                  </a:lnTo>
                  <a:lnTo>
                    <a:pt x="1739" y="1766"/>
                  </a:lnTo>
                  <a:lnTo>
                    <a:pt x="1730" y="1768"/>
                  </a:lnTo>
                  <a:lnTo>
                    <a:pt x="1721" y="1770"/>
                  </a:lnTo>
                  <a:lnTo>
                    <a:pt x="1713" y="1773"/>
                  </a:lnTo>
                  <a:lnTo>
                    <a:pt x="1705" y="1777"/>
                  </a:lnTo>
                  <a:lnTo>
                    <a:pt x="1698" y="1782"/>
                  </a:lnTo>
                  <a:lnTo>
                    <a:pt x="1691" y="1788"/>
                  </a:lnTo>
                  <a:lnTo>
                    <a:pt x="1685" y="1794"/>
                  </a:lnTo>
                  <a:lnTo>
                    <a:pt x="1680" y="1801"/>
                  </a:lnTo>
                  <a:lnTo>
                    <a:pt x="1674" y="1809"/>
                  </a:lnTo>
                  <a:lnTo>
                    <a:pt x="1670" y="1817"/>
                  </a:lnTo>
                  <a:lnTo>
                    <a:pt x="1666" y="1826"/>
                  </a:lnTo>
                  <a:lnTo>
                    <a:pt x="1664" y="1836"/>
                  </a:lnTo>
                  <a:lnTo>
                    <a:pt x="1662" y="1846"/>
                  </a:lnTo>
                  <a:lnTo>
                    <a:pt x="1661" y="1857"/>
                  </a:lnTo>
                  <a:lnTo>
                    <a:pt x="1660" y="1868"/>
                  </a:lnTo>
                  <a:lnTo>
                    <a:pt x="1660" y="1868"/>
                  </a:lnTo>
                  <a:lnTo>
                    <a:pt x="1661" y="1878"/>
                  </a:lnTo>
                  <a:lnTo>
                    <a:pt x="1662" y="1889"/>
                  </a:lnTo>
                  <a:lnTo>
                    <a:pt x="1664" y="1898"/>
                  </a:lnTo>
                  <a:lnTo>
                    <a:pt x="1666" y="1907"/>
                  </a:lnTo>
                  <a:lnTo>
                    <a:pt x="1670" y="1917"/>
                  </a:lnTo>
                  <a:lnTo>
                    <a:pt x="1674" y="1925"/>
                  </a:lnTo>
                  <a:lnTo>
                    <a:pt x="1680" y="1933"/>
                  </a:lnTo>
                  <a:lnTo>
                    <a:pt x="1685" y="1941"/>
                  </a:lnTo>
                  <a:lnTo>
                    <a:pt x="1691" y="1946"/>
                  </a:lnTo>
                  <a:lnTo>
                    <a:pt x="1698" y="1953"/>
                  </a:lnTo>
                  <a:lnTo>
                    <a:pt x="1705" y="1957"/>
                  </a:lnTo>
                  <a:lnTo>
                    <a:pt x="1713" y="1961"/>
                  </a:lnTo>
                  <a:lnTo>
                    <a:pt x="1721" y="1965"/>
                  </a:lnTo>
                  <a:lnTo>
                    <a:pt x="1730" y="1967"/>
                  </a:lnTo>
                  <a:lnTo>
                    <a:pt x="1739" y="1969"/>
                  </a:lnTo>
                  <a:lnTo>
                    <a:pt x="1749" y="1969"/>
                  </a:lnTo>
                  <a:lnTo>
                    <a:pt x="1749" y="1969"/>
                  </a:lnTo>
                  <a:lnTo>
                    <a:pt x="1758" y="1969"/>
                  </a:lnTo>
                  <a:lnTo>
                    <a:pt x="1767" y="1967"/>
                  </a:lnTo>
                  <a:lnTo>
                    <a:pt x="1775" y="1965"/>
                  </a:lnTo>
                  <a:lnTo>
                    <a:pt x="1783" y="1961"/>
                  </a:lnTo>
                  <a:lnTo>
                    <a:pt x="1791" y="1957"/>
                  </a:lnTo>
                  <a:lnTo>
                    <a:pt x="1799" y="1953"/>
                  </a:lnTo>
                  <a:lnTo>
                    <a:pt x="1806" y="1946"/>
                  </a:lnTo>
                  <a:lnTo>
                    <a:pt x="1811" y="1941"/>
                  </a:lnTo>
                  <a:lnTo>
                    <a:pt x="1818" y="1933"/>
                  </a:lnTo>
                  <a:lnTo>
                    <a:pt x="1822" y="1925"/>
                  </a:lnTo>
                  <a:lnTo>
                    <a:pt x="1827" y="1917"/>
                  </a:lnTo>
                  <a:lnTo>
                    <a:pt x="1830" y="1907"/>
                  </a:lnTo>
                  <a:lnTo>
                    <a:pt x="1832" y="1898"/>
                  </a:lnTo>
                  <a:lnTo>
                    <a:pt x="1835" y="1889"/>
                  </a:lnTo>
                  <a:lnTo>
                    <a:pt x="1836" y="1878"/>
                  </a:lnTo>
                  <a:lnTo>
                    <a:pt x="1836" y="1868"/>
                  </a:lnTo>
                  <a:lnTo>
                    <a:pt x="1836" y="1868"/>
                  </a:lnTo>
                  <a:lnTo>
                    <a:pt x="1836" y="1857"/>
                  </a:lnTo>
                  <a:lnTo>
                    <a:pt x="1835" y="1846"/>
                  </a:lnTo>
                  <a:lnTo>
                    <a:pt x="1832" y="1836"/>
                  </a:lnTo>
                  <a:lnTo>
                    <a:pt x="1830" y="1826"/>
                  </a:lnTo>
                  <a:lnTo>
                    <a:pt x="1827" y="1817"/>
                  </a:lnTo>
                  <a:lnTo>
                    <a:pt x="1822" y="1809"/>
                  </a:lnTo>
                  <a:lnTo>
                    <a:pt x="1818" y="1801"/>
                  </a:lnTo>
                  <a:lnTo>
                    <a:pt x="1811" y="1794"/>
                  </a:lnTo>
                  <a:lnTo>
                    <a:pt x="1806" y="1788"/>
                  </a:lnTo>
                  <a:lnTo>
                    <a:pt x="1799" y="1782"/>
                  </a:lnTo>
                  <a:lnTo>
                    <a:pt x="1791" y="1777"/>
                  </a:lnTo>
                  <a:lnTo>
                    <a:pt x="1783" y="1773"/>
                  </a:lnTo>
                  <a:lnTo>
                    <a:pt x="1775" y="1770"/>
                  </a:lnTo>
                  <a:lnTo>
                    <a:pt x="1767" y="1768"/>
                  </a:lnTo>
                  <a:lnTo>
                    <a:pt x="1758" y="1766"/>
                  </a:lnTo>
                  <a:lnTo>
                    <a:pt x="1749" y="1765"/>
                  </a:lnTo>
                  <a:lnTo>
                    <a:pt x="1749" y="1765"/>
                  </a:lnTo>
                  <a:close/>
                  <a:moveTo>
                    <a:pt x="1749" y="1923"/>
                  </a:moveTo>
                  <a:lnTo>
                    <a:pt x="1749" y="1923"/>
                  </a:lnTo>
                  <a:lnTo>
                    <a:pt x="1739" y="1922"/>
                  </a:lnTo>
                  <a:lnTo>
                    <a:pt x="1731" y="1919"/>
                  </a:lnTo>
                  <a:lnTo>
                    <a:pt x="1725" y="1914"/>
                  </a:lnTo>
                  <a:lnTo>
                    <a:pt x="1719" y="1909"/>
                  </a:lnTo>
                  <a:lnTo>
                    <a:pt x="1715" y="1899"/>
                  </a:lnTo>
                  <a:lnTo>
                    <a:pt x="1711" y="1890"/>
                  </a:lnTo>
                  <a:lnTo>
                    <a:pt x="1710" y="1879"/>
                  </a:lnTo>
                  <a:lnTo>
                    <a:pt x="1709" y="1868"/>
                  </a:lnTo>
                  <a:lnTo>
                    <a:pt x="1709" y="1868"/>
                  </a:lnTo>
                  <a:lnTo>
                    <a:pt x="1710" y="1856"/>
                  </a:lnTo>
                  <a:lnTo>
                    <a:pt x="1711" y="1844"/>
                  </a:lnTo>
                  <a:lnTo>
                    <a:pt x="1715" y="1834"/>
                  </a:lnTo>
                  <a:lnTo>
                    <a:pt x="1719" y="1826"/>
                  </a:lnTo>
                  <a:lnTo>
                    <a:pt x="1725" y="1820"/>
                  </a:lnTo>
                  <a:lnTo>
                    <a:pt x="1731" y="1814"/>
                  </a:lnTo>
                  <a:lnTo>
                    <a:pt x="1739" y="1812"/>
                  </a:lnTo>
                  <a:lnTo>
                    <a:pt x="1749" y="1810"/>
                  </a:lnTo>
                  <a:lnTo>
                    <a:pt x="1749" y="1810"/>
                  </a:lnTo>
                  <a:lnTo>
                    <a:pt x="1757" y="1812"/>
                  </a:lnTo>
                  <a:lnTo>
                    <a:pt x="1765" y="1814"/>
                  </a:lnTo>
                  <a:lnTo>
                    <a:pt x="1771" y="1820"/>
                  </a:lnTo>
                  <a:lnTo>
                    <a:pt x="1777" y="1826"/>
                  </a:lnTo>
                  <a:lnTo>
                    <a:pt x="1782" y="1834"/>
                  </a:lnTo>
                  <a:lnTo>
                    <a:pt x="1784" y="1844"/>
                  </a:lnTo>
                  <a:lnTo>
                    <a:pt x="1787" y="1856"/>
                  </a:lnTo>
                  <a:lnTo>
                    <a:pt x="1787" y="1868"/>
                  </a:lnTo>
                  <a:lnTo>
                    <a:pt x="1787" y="1868"/>
                  </a:lnTo>
                  <a:lnTo>
                    <a:pt x="1787" y="1879"/>
                  </a:lnTo>
                  <a:lnTo>
                    <a:pt x="1784" y="1890"/>
                  </a:lnTo>
                  <a:lnTo>
                    <a:pt x="1782" y="1899"/>
                  </a:lnTo>
                  <a:lnTo>
                    <a:pt x="1777" y="1909"/>
                  </a:lnTo>
                  <a:lnTo>
                    <a:pt x="1771" y="1914"/>
                  </a:lnTo>
                  <a:lnTo>
                    <a:pt x="1765" y="1919"/>
                  </a:lnTo>
                  <a:lnTo>
                    <a:pt x="1757" y="1922"/>
                  </a:lnTo>
                  <a:lnTo>
                    <a:pt x="1749" y="1923"/>
                  </a:lnTo>
                  <a:lnTo>
                    <a:pt x="1749" y="1923"/>
                  </a:lnTo>
                  <a:close/>
                  <a:moveTo>
                    <a:pt x="729" y="1834"/>
                  </a:moveTo>
                  <a:lnTo>
                    <a:pt x="789" y="1965"/>
                  </a:lnTo>
                  <a:lnTo>
                    <a:pt x="736" y="1965"/>
                  </a:lnTo>
                  <a:lnTo>
                    <a:pt x="695" y="1874"/>
                  </a:lnTo>
                  <a:lnTo>
                    <a:pt x="670" y="1906"/>
                  </a:lnTo>
                  <a:lnTo>
                    <a:pt x="670" y="1965"/>
                  </a:lnTo>
                  <a:lnTo>
                    <a:pt x="622" y="1965"/>
                  </a:lnTo>
                  <a:lnTo>
                    <a:pt x="622" y="1713"/>
                  </a:lnTo>
                  <a:lnTo>
                    <a:pt x="670" y="1689"/>
                  </a:lnTo>
                  <a:lnTo>
                    <a:pt x="670" y="1844"/>
                  </a:lnTo>
                  <a:lnTo>
                    <a:pt x="670" y="1844"/>
                  </a:lnTo>
                  <a:lnTo>
                    <a:pt x="688" y="1820"/>
                  </a:lnTo>
                  <a:lnTo>
                    <a:pt x="727" y="1770"/>
                  </a:lnTo>
                  <a:lnTo>
                    <a:pt x="781" y="1770"/>
                  </a:lnTo>
                  <a:lnTo>
                    <a:pt x="729" y="1834"/>
                  </a:lnTo>
                  <a:close/>
                  <a:moveTo>
                    <a:pt x="958" y="1965"/>
                  </a:moveTo>
                  <a:lnTo>
                    <a:pt x="910" y="1965"/>
                  </a:lnTo>
                  <a:lnTo>
                    <a:pt x="910" y="1770"/>
                  </a:lnTo>
                  <a:lnTo>
                    <a:pt x="958" y="1770"/>
                  </a:lnTo>
                  <a:lnTo>
                    <a:pt x="958" y="1786"/>
                  </a:lnTo>
                  <a:lnTo>
                    <a:pt x="958" y="1786"/>
                  </a:lnTo>
                  <a:lnTo>
                    <a:pt x="967" y="1777"/>
                  </a:lnTo>
                  <a:lnTo>
                    <a:pt x="979" y="1770"/>
                  </a:lnTo>
                  <a:lnTo>
                    <a:pt x="993" y="1766"/>
                  </a:lnTo>
                  <a:lnTo>
                    <a:pt x="1007" y="1765"/>
                  </a:lnTo>
                  <a:lnTo>
                    <a:pt x="1007" y="1765"/>
                  </a:lnTo>
                  <a:lnTo>
                    <a:pt x="1023" y="1768"/>
                  </a:lnTo>
                  <a:lnTo>
                    <a:pt x="1030" y="1769"/>
                  </a:lnTo>
                  <a:lnTo>
                    <a:pt x="1038" y="1772"/>
                  </a:lnTo>
                  <a:lnTo>
                    <a:pt x="1043" y="1774"/>
                  </a:lnTo>
                  <a:lnTo>
                    <a:pt x="1050" y="1778"/>
                  </a:lnTo>
                  <a:lnTo>
                    <a:pt x="1055" y="1784"/>
                  </a:lnTo>
                  <a:lnTo>
                    <a:pt x="1059" y="1788"/>
                  </a:lnTo>
                  <a:lnTo>
                    <a:pt x="1064" y="1794"/>
                  </a:lnTo>
                  <a:lnTo>
                    <a:pt x="1067" y="1801"/>
                  </a:lnTo>
                  <a:lnTo>
                    <a:pt x="1074" y="1816"/>
                  </a:lnTo>
                  <a:lnTo>
                    <a:pt x="1076" y="1834"/>
                  </a:lnTo>
                  <a:lnTo>
                    <a:pt x="1078" y="1854"/>
                  </a:lnTo>
                  <a:lnTo>
                    <a:pt x="1078" y="1965"/>
                  </a:lnTo>
                  <a:lnTo>
                    <a:pt x="1030" y="1965"/>
                  </a:lnTo>
                  <a:lnTo>
                    <a:pt x="1030" y="1857"/>
                  </a:lnTo>
                  <a:lnTo>
                    <a:pt x="1030" y="1857"/>
                  </a:lnTo>
                  <a:lnTo>
                    <a:pt x="1030" y="1846"/>
                  </a:lnTo>
                  <a:lnTo>
                    <a:pt x="1027" y="1836"/>
                  </a:lnTo>
                  <a:lnTo>
                    <a:pt x="1024" y="1828"/>
                  </a:lnTo>
                  <a:lnTo>
                    <a:pt x="1022" y="1821"/>
                  </a:lnTo>
                  <a:lnTo>
                    <a:pt x="1016" y="1816"/>
                  </a:lnTo>
                  <a:lnTo>
                    <a:pt x="1010" y="1813"/>
                  </a:lnTo>
                  <a:lnTo>
                    <a:pt x="1003" y="1810"/>
                  </a:lnTo>
                  <a:lnTo>
                    <a:pt x="995" y="1810"/>
                  </a:lnTo>
                  <a:lnTo>
                    <a:pt x="995" y="1810"/>
                  </a:lnTo>
                  <a:lnTo>
                    <a:pt x="986" y="1810"/>
                  </a:lnTo>
                  <a:lnTo>
                    <a:pt x="979" y="1813"/>
                  </a:lnTo>
                  <a:lnTo>
                    <a:pt x="973" y="1817"/>
                  </a:lnTo>
                  <a:lnTo>
                    <a:pt x="967" y="1822"/>
                  </a:lnTo>
                  <a:lnTo>
                    <a:pt x="963" y="1829"/>
                  </a:lnTo>
                  <a:lnTo>
                    <a:pt x="961" y="1837"/>
                  </a:lnTo>
                  <a:lnTo>
                    <a:pt x="958" y="1846"/>
                  </a:lnTo>
                  <a:lnTo>
                    <a:pt x="958" y="1857"/>
                  </a:lnTo>
                  <a:lnTo>
                    <a:pt x="958" y="1965"/>
                  </a:lnTo>
                  <a:close/>
                  <a:moveTo>
                    <a:pt x="1229" y="1784"/>
                  </a:moveTo>
                  <a:lnTo>
                    <a:pt x="1229" y="1784"/>
                  </a:lnTo>
                  <a:lnTo>
                    <a:pt x="1220" y="1776"/>
                  </a:lnTo>
                  <a:lnTo>
                    <a:pt x="1209" y="1770"/>
                  </a:lnTo>
                  <a:lnTo>
                    <a:pt x="1199" y="1766"/>
                  </a:lnTo>
                  <a:lnTo>
                    <a:pt x="1187" y="1765"/>
                  </a:lnTo>
                  <a:lnTo>
                    <a:pt x="1187" y="1765"/>
                  </a:lnTo>
                  <a:lnTo>
                    <a:pt x="1177" y="1766"/>
                  </a:lnTo>
                  <a:lnTo>
                    <a:pt x="1169" y="1768"/>
                  </a:lnTo>
                  <a:lnTo>
                    <a:pt x="1161" y="1769"/>
                  </a:lnTo>
                  <a:lnTo>
                    <a:pt x="1155" y="1773"/>
                  </a:lnTo>
                  <a:lnTo>
                    <a:pt x="1148" y="1776"/>
                  </a:lnTo>
                  <a:lnTo>
                    <a:pt x="1141" y="1781"/>
                  </a:lnTo>
                  <a:lnTo>
                    <a:pt x="1136" y="1786"/>
                  </a:lnTo>
                  <a:lnTo>
                    <a:pt x="1131" y="1793"/>
                  </a:lnTo>
                  <a:lnTo>
                    <a:pt x="1125" y="1800"/>
                  </a:lnTo>
                  <a:lnTo>
                    <a:pt x="1121" y="1806"/>
                  </a:lnTo>
                  <a:lnTo>
                    <a:pt x="1115" y="1824"/>
                  </a:lnTo>
                  <a:lnTo>
                    <a:pt x="1111" y="1844"/>
                  </a:lnTo>
                  <a:lnTo>
                    <a:pt x="1109" y="1865"/>
                  </a:lnTo>
                  <a:lnTo>
                    <a:pt x="1109" y="1865"/>
                  </a:lnTo>
                  <a:lnTo>
                    <a:pt x="1111" y="1889"/>
                  </a:lnTo>
                  <a:lnTo>
                    <a:pt x="1115" y="1909"/>
                  </a:lnTo>
                  <a:lnTo>
                    <a:pt x="1121" y="1926"/>
                  </a:lnTo>
                  <a:lnTo>
                    <a:pt x="1125" y="1934"/>
                  </a:lnTo>
                  <a:lnTo>
                    <a:pt x="1129" y="1941"/>
                  </a:lnTo>
                  <a:lnTo>
                    <a:pt x="1135" y="1947"/>
                  </a:lnTo>
                  <a:lnTo>
                    <a:pt x="1140" y="1953"/>
                  </a:lnTo>
                  <a:lnTo>
                    <a:pt x="1147" y="1958"/>
                  </a:lnTo>
                  <a:lnTo>
                    <a:pt x="1153" y="1962"/>
                  </a:lnTo>
                  <a:lnTo>
                    <a:pt x="1161" y="1965"/>
                  </a:lnTo>
                  <a:lnTo>
                    <a:pt x="1168" y="1967"/>
                  </a:lnTo>
                  <a:lnTo>
                    <a:pt x="1176" y="1969"/>
                  </a:lnTo>
                  <a:lnTo>
                    <a:pt x="1185" y="1969"/>
                  </a:lnTo>
                  <a:lnTo>
                    <a:pt x="1185" y="1969"/>
                  </a:lnTo>
                  <a:lnTo>
                    <a:pt x="1197" y="1967"/>
                  </a:lnTo>
                  <a:lnTo>
                    <a:pt x="1209" y="1963"/>
                  </a:lnTo>
                  <a:lnTo>
                    <a:pt x="1220" y="1958"/>
                  </a:lnTo>
                  <a:lnTo>
                    <a:pt x="1229" y="1950"/>
                  </a:lnTo>
                  <a:lnTo>
                    <a:pt x="1229" y="1954"/>
                  </a:lnTo>
                  <a:lnTo>
                    <a:pt x="1229" y="1954"/>
                  </a:lnTo>
                  <a:lnTo>
                    <a:pt x="1229" y="1962"/>
                  </a:lnTo>
                  <a:lnTo>
                    <a:pt x="1228" y="1971"/>
                  </a:lnTo>
                  <a:lnTo>
                    <a:pt x="1226" y="1979"/>
                  </a:lnTo>
                  <a:lnTo>
                    <a:pt x="1221" y="1987"/>
                  </a:lnTo>
                  <a:lnTo>
                    <a:pt x="1218" y="1991"/>
                  </a:lnTo>
                  <a:lnTo>
                    <a:pt x="1214" y="1995"/>
                  </a:lnTo>
                  <a:lnTo>
                    <a:pt x="1209" y="1998"/>
                  </a:lnTo>
                  <a:lnTo>
                    <a:pt x="1203" y="2000"/>
                  </a:lnTo>
                  <a:lnTo>
                    <a:pt x="1188" y="2004"/>
                  </a:lnTo>
                  <a:lnTo>
                    <a:pt x="1167" y="2006"/>
                  </a:lnTo>
                  <a:lnTo>
                    <a:pt x="1165" y="2006"/>
                  </a:lnTo>
                  <a:lnTo>
                    <a:pt x="1181" y="2043"/>
                  </a:lnTo>
                  <a:lnTo>
                    <a:pt x="1183" y="2043"/>
                  </a:lnTo>
                  <a:lnTo>
                    <a:pt x="1183" y="2043"/>
                  </a:lnTo>
                  <a:lnTo>
                    <a:pt x="1205" y="2042"/>
                  </a:lnTo>
                  <a:lnTo>
                    <a:pt x="1214" y="2039"/>
                  </a:lnTo>
                  <a:lnTo>
                    <a:pt x="1224" y="2036"/>
                  </a:lnTo>
                  <a:lnTo>
                    <a:pt x="1233" y="2034"/>
                  </a:lnTo>
                  <a:lnTo>
                    <a:pt x="1241" y="2030"/>
                  </a:lnTo>
                  <a:lnTo>
                    <a:pt x="1248" y="2024"/>
                  </a:lnTo>
                  <a:lnTo>
                    <a:pt x="1254" y="2019"/>
                  </a:lnTo>
                  <a:lnTo>
                    <a:pt x="1260" y="2012"/>
                  </a:lnTo>
                  <a:lnTo>
                    <a:pt x="1264" y="2004"/>
                  </a:lnTo>
                  <a:lnTo>
                    <a:pt x="1268" y="1998"/>
                  </a:lnTo>
                  <a:lnTo>
                    <a:pt x="1272" y="1988"/>
                  </a:lnTo>
                  <a:lnTo>
                    <a:pt x="1274" y="1979"/>
                  </a:lnTo>
                  <a:lnTo>
                    <a:pt x="1276" y="1969"/>
                  </a:lnTo>
                  <a:lnTo>
                    <a:pt x="1277" y="1946"/>
                  </a:lnTo>
                  <a:lnTo>
                    <a:pt x="1277" y="1770"/>
                  </a:lnTo>
                  <a:lnTo>
                    <a:pt x="1229" y="1770"/>
                  </a:lnTo>
                  <a:lnTo>
                    <a:pt x="1229" y="1784"/>
                  </a:lnTo>
                  <a:close/>
                  <a:moveTo>
                    <a:pt x="1229" y="1829"/>
                  </a:moveTo>
                  <a:lnTo>
                    <a:pt x="1229" y="1905"/>
                  </a:lnTo>
                  <a:lnTo>
                    <a:pt x="1229" y="1905"/>
                  </a:lnTo>
                  <a:lnTo>
                    <a:pt x="1222" y="1913"/>
                  </a:lnTo>
                  <a:lnTo>
                    <a:pt x="1216" y="1918"/>
                  </a:lnTo>
                  <a:lnTo>
                    <a:pt x="1206" y="1922"/>
                  </a:lnTo>
                  <a:lnTo>
                    <a:pt x="1201" y="1923"/>
                  </a:lnTo>
                  <a:lnTo>
                    <a:pt x="1195" y="1925"/>
                  </a:lnTo>
                  <a:lnTo>
                    <a:pt x="1195" y="1925"/>
                  </a:lnTo>
                  <a:lnTo>
                    <a:pt x="1189" y="1923"/>
                  </a:lnTo>
                  <a:lnTo>
                    <a:pt x="1183" y="1922"/>
                  </a:lnTo>
                  <a:lnTo>
                    <a:pt x="1176" y="1918"/>
                  </a:lnTo>
                  <a:lnTo>
                    <a:pt x="1171" y="1913"/>
                  </a:lnTo>
                  <a:lnTo>
                    <a:pt x="1167" y="1905"/>
                  </a:lnTo>
                  <a:lnTo>
                    <a:pt x="1163" y="1894"/>
                  </a:lnTo>
                  <a:lnTo>
                    <a:pt x="1160" y="1881"/>
                  </a:lnTo>
                  <a:lnTo>
                    <a:pt x="1159" y="1864"/>
                  </a:lnTo>
                  <a:lnTo>
                    <a:pt x="1159" y="1864"/>
                  </a:lnTo>
                  <a:lnTo>
                    <a:pt x="1160" y="1849"/>
                  </a:lnTo>
                  <a:lnTo>
                    <a:pt x="1163" y="1837"/>
                  </a:lnTo>
                  <a:lnTo>
                    <a:pt x="1165" y="1828"/>
                  </a:lnTo>
                  <a:lnTo>
                    <a:pt x="1171" y="1820"/>
                  </a:lnTo>
                  <a:lnTo>
                    <a:pt x="1176" y="1816"/>
                  </a:lnTo>
                  <a:lnTo>
                    <a:pt x="1183" y="1812"/>
                  </a:lnTo>
                  <a:lnTo>
                    <a:pt x="1188" y="1810"/>
                  </a:lnTo>
                  <a:lnTo>
                    <a:pt x="1195" y="1810"/>
                  </a:lnTo>
                  <a:lnTo>
                    <a:pt x="1195" y="1810"/>
                  </a:lnTo>
                  <a:lnTo>
                    <a:pt x="1201" y="1810"/>
                  </a:lnTo>
                  <a:lnTo>
                    <a:pt x="1206" y="1812"/>
                  </a:lnTo>
                  <a:lnTo>
                    <a:pt x="1212" y="1813"/>
                  </a:lnTo>
                  <a:lnTo>
                    <a:pt x="1217" y="1816"/>
                  </a:lnTo>
                  <a:lnTo>
                    <a:pt x="1224" y="1822"/>
                  </a:lnTo>
                  <a:lnTo>
                    <a:pt x="1229" y="1829"/>
                  </a:lnTo>
                  <a:lnTo>
                    <a:pt x="1229" y="1829"/>
                  </a:lnTo>
                  <a:close/>
                  <a:moveTo>
                    <a:pt x="818" y="1770"/>
                  </a:moveTo>
                  <a:lnTo>
                    <a:pt x="866" y="1770"/>
                  </a:lnTo>
                  <a:lnTo>
                    <a:pt x="866" y="1853"/>
                  </a:lnTo>
                  <a:lnTo>
                    <a:pt x="866" y="1965"/>
                  </a:lnTo>
                  <a:lnTo>
                    <a:pt x="818" y="1965"/>
                  </a:lnTo>
                  <a:lnTo>
                    <a:pt x="818" y="1770"/>
                  </a:lnTo>
                  <a:close/>
                  <a:moveTo>
                    <a:pt x="866" y="1721"/>
                  </a:moveTo>
                  <a:lnTo>
                    <a:pt x="866" y="1743"/>
                  </a:lnTo>
                  <a:lnTo>
                    <a:pt x="818" y="1743"/>
                  </a:lnTo>
                  <a:lnTo>
                    <a:pt x="818" y="1695"/>
                  </a:lnTo>
                  <a:lnTo>
                    <a:pt x="866" y="1695"/>
                  </a:lnTo>
                  <a:lnTo>
                    <a:pt x="866" y="1721"/>
                  </a:lnTo>
                  <a:close/>
                  <a:moveTo>
                    <a:pt x="2016" y="1713"/>
                  </a:moveTo>
                  <a:lnTo>
                    <a:pt x="2065" y="1689"/>
                  </a:lnTo>
                  <a:lnTo>
                    <a:pt x="2065" y="1865"/>
                  </a:lnTo>
                  <a:lnTo>
                    <a:pt x="2065" y="1965"/>
                  </a:lnTo>
                  <a:lnTo>
                    <a:pt x="2016" y="1965"/>
                  </a:lnTo>
                  <a:lnTo>
                    <a:pt x="2016" y="1713"/>
                  </a:lnTo>
                  <a:close/>
                  <a:moveTo>
                    <a:pt x="347" y="660"/>
                  </a:moveTo>
                  <a:lnTo>
                    <a:pt x="741" y="660"/>
                  </a:lnTo>
                  <a:lnTo>
                    <a:pt x="741" y="432"/>
                  </a:lnTo>
                  <a:lnTo>
                    <a:pt x="347" y="432"/>
                  </a:lnTo>
                  <a:lnTo>
                    <a:pt x="347" y="251"/>
                  </a:lnTo>
                  <a:lnTo>
                    <a:pt x="784" y="251"/>
                  </a:lnTo>
                  <a:lnTo>
                    <a:pt x="639" y="0"/>
                  </a:lnTo>
                  <a:lnTo>
                    <a:pt x="20" y="0"/>
                  </a:lnTo>
                  <a:lnTo>
                    <a:pt x="20" y="1092"/>
                  </a:lnTo>
                  <a:lnTo>
                    <a:pt x="893" y="1092"/>
                  </a:lnTo>
                  <a:lnTo>
                    <a:pt x="893" y="841"/>
                  </a:lnTo>
                  <a:lnTo>
                    <a:pt x="347" y="841"/>
                  </a:lnTo>
                  <a:lnTo>
                    <a:pt x="347" y="660"/>
                  </a:lnTo>
                  <a:close/>
                  <a:moveTo>
                    <a:pt x="1475" y="0"/>
                  </a:moveTo>
                  <a:lnTo>
                    <a:pt x="1289" y="356"/>
                  </a:lnTo>
                  <a:lnTo>
                    <a:pt x="1104" y="0"/>
                  </a:lnTo>
                  <a:lnTo>
                    <a:pt x="741" y="0"/>
                  </a:lnTo>
                  <a:lnTo>
                    <a:pt x="1124" y="660"/>
                  </a:lnTo>
                  <a:lnTo>
                    <a:pt x="1124" y="1092"/>
                  </a:lnTo>
                  <a:lnTo>
                    <a:pt x="1451" y="1092"/>
                  </a:lnTo>
                  <a:lnTo>
                    <a:pt x="1451" y="660"/>
                  </a:lnTo>
                  <a:lnTo>
                    <a:pt x="1832" y="0"/>
                  </a:lnTo>
                  <a:lnTo>
                    <a:pt x="1475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36981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66871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96000"/>
            <a:ext cx="40428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78000"/>
            <a:ext cx="40428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90400"/>
            <a:ext cx="40428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90400"/>
            <a:ext cx="40428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3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20352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52400" y="5107354"/>
            <a:ext cx="851877" cy="159433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2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31908" y="5263661"/>
            <a:ext cx="851877" cy="159433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200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" y="0"/>
            <a:ext cx="351692" cy="159433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2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886968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886968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tangle 1"/>
          <p:cNvSpPr>
            <a:spLocks noChangeAspect="1"/>
          </p:cNvSpPr>
          <p:nvPr userDrawn="1"/>
        </p:nvSpPr>
        <p:spPr>
          <a:xfrm>
            <a:off x="454818" y="797169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55693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71308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551873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cover">
    <p:bg>
      <p:bgPr>
        <a:solidFill>
          <a:srgbClr val="2D37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465785" y="1629800"/>
            <a:ext cx="6429737" cy="131761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50" b="1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465313" y="5674382"/>
            <a:ext cx="4212904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ts val="38"/>
              </a:spcBef>
              <a:spcAft>
                <a:spcPct val="0"/>
              </a:spcAft>
              <a:buClr>
                <a:srgbClr val="008768"/>
              </a:buClr>
              <a:buSzPct val="120000"/>
              <a:buFontTx/>
              <a:buNone/>
              <a:tabLst/>
              <a:defRPr sz="1200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38"/>
              </a:spcBef>
              <a:spcAft>
                <a:spcPct val="0"/>
              </a:spcAft>
              <a:buClr>
                <a:srgbClr val="008768"/>
              </a:buClr>
              <a:buSzPct val="120000"/>
              <a:buFontTx/>
              <a:buNone/>
              <a:tabLst/>
              <a:defRPr/>
            </a:pPr>
            <a:r>
              <a:rPr lang="en-US" noProof="0"/>
              <a:t>Click to edit event, name of presenter, title, date and confidentiality level in separate lines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465313" y="3104611"/>
            <a:ext cx="6430214" cy="955040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</a:lstStyle>
          <a:p>
            <a:pPr lvl="0"/>
            <a:r>
              <a:rPr lang="en-US" noProof="0"/>
              <a:t>Click to edit sub-headlin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E4C890D-EC52-1F48-8319-58F22686D0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360" y="3064857"/>
            <a:ext cx="1429975" cy="379631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0863B08C-534F-6140-8B4E-DC9AA64A87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19735" y="504357"/>
            <a:ext cx="1188132" cy="10528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BA87982F-2AED-BD48-BC58-8CA82A0B6DA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937309" y="6499226"/>
            <a:ext cx="954400" cy="168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5910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agenda">
    <p:bg>
      <p:bgPr>
        <a:solidFill>
          <a:srgbClr val="2D37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465785" y="111574"/>
            <a:ext cx="6429737" cy="348198"/>
          </a:xfrm>
          <a:prstGeom prst="rect">
            <a:avLst/>
          </a:prstGeom>
        </p:spPr>
        <p:txBody>
          <a:bodyPr/>
          <a:lstStyle>
            <a:lvl1pPr>
              <a:defRPr sz="2100" b="1"/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22B6C916-DF1A-4997-882F-B416422F89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5785" y="1024408"/>
            <a:ext cx="6429375" cy="4996980"/>
          </a:xfrm>
        </p:spPr>
        <p:txBody>
          <a:bodyPr/>
          <a:lstStyle>
            <a:lvl1pPr marL="135000" indent="-135000">
              <a:spcBef>
                <a:spcPts val="1800"/>
              </a:spcBef>
              <a:buClr>
                <a:srgbClr val="008768"/>
              </a:buClr>
              <a:buFont typeface="Wingdings" panose="05000000000000000000" pitchFamily="2" charset="2"/>
              <a:buChar char="§"/>
              <a:defRPr sz="1500" b="0">
                <a:solidFill>
                  <a:schemeClr val="tx1"/>
                </a:solidFill>
              </a:defRPr>
            </a:lvl1pPr>
            <a:lvl2pPr>
              <a:spcBef>
                <a:spcPts val="1800"/>
              </a:spcBef>
              <a:buClr>
                <a:srgbClr val="F1D61F"/>
              </a:buClr>
              <a:defRPr sz="1500" b="1">
                <a:solidFill>
                  <a:srgbClr val="F1D61F"/>
                </a:solidFill>
              </a:defRPr>
            </a:lvl2pPr>
            <a:lvl3pPr marL="189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3pPr>
            <a:lvl4pPr marL="189000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 dirty="0"/>
              <a:t>Click to edit text (to highlight an agenda item in yellow, use the bullet point listing menu as explained on slide 0)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DB5CF1A-16CC-AB41-B4EA-ED7933DDF6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124" y="5013176"/>
            <a:ext cx="3459045" cy="184482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D6FEACE-9808-8745-B2DB-B76B218BFBD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7309" y="6499226"/>
            <a:ext cx="954400" cy="168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454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Rubrik och innehåll">
    <p:bg>
      <p:bgPr>
        <a:solidFill>
          <a:srgbClr val="8AC2E6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374" y="0"/>
            <a:ext cx="4329626" cy="5767197"/>
          </a:xfrm>
          <a:prstGeom prst="rect">
            <a:avLst/>
          </a:prstGeom>
        </p:spPr>
      </p:pic>
      <p:sp>
        <p:nvSpPr>
          <p:cNvPr id="15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31875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6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3187533" cy="4166998"/>
          </a:xfrm>
        </p:spPr>
        <p:txBody>
          <a:bodyPr/>
          <a:lstStyle>
            <a:lvl1pPr>
              <a:defRPr sz="2800" baseline="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50536526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chapter_break_image">
    <p:bg>
      <p:bgPr>
        <a:solidFill>
          <a:srgbClr val="2D37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834994" y="1139565"/>
            <a:ext cx="5057785" cy="145097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50" b="1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 of chapter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3484280" cy="6858000"/>
          </a:xfrm>
          <a:prstGeom prst="rect">
            <a:avLst/>
          </a:prstGeom>
          <a:solidFill>
            <a:schemeClr val="tx2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b="0" baseline="0">
                <a:solidFill>
                  <a:schemeClr val="bg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34556" y="2847733"/>
            <a:ext cx="5071278" cy="748646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38"/>
              </a:spcBef>
              <a:spcAft>
                <a:spcPct val="0"/>
              </a:spcAft>
              <a:buClr>
                <a:srgbClr val="008768"/>
              </a:buClr>
              <a:buSzPct val="120000"/>
              <a:buFont typeface="Wingdings" charset="2"/>
              <a:buNone/>
              <a:tabLst/>
              <a:defRPr/>
            </a:pPr>
            <a:r>
              <a:rPr lang="en-US" noProof="0"/>
              <a:t>Click to edit sub-headli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BD9A639-D7BC-E843-B307-EF32D8E68D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79469" y="-5308"/>
            <a:ext cx="1971675" cy="15113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667B4F1-FF64-8746-85E1-A0665731DB7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7309" y="6499226"/>
            <a:ext cx="954400" cy="168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449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chapter_break">
    <p:bg>
      <p:bgPr>
        <a:solidFill>
          <a:srgbClr val="2D37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51223" y="1125124"/>
            <a:ext cx="4212431" cy="146201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50" b="1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title of chapter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51223" y="2877671"/>
            <a:ext cx="4212431" cy="856615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</a:lstStyle>
          <a:p>
            <a:pPr lvl="0"/>
            <a:r>
              <a:rPr lang="en-US" noProof="0"/>
              <a:t>Click to edit sub-headlin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5AC97F0-FCF4-F749-94E4-AB5DA56B94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3633" y="-5230"/>
            <a:ext cx="3905250" cy="28829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9671A94-6661-2942-B3D5-A54FEF28A5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7309" y="6499226"/>
            <a:ext cx="954400" cy="168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961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T_cont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251100" y="548680"/>
            <a:ext cx="8640000" cy="32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en-US" noProof="0"/>
              <a:t>Click to edit sub-headline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02791903-9EAF-4C45-BB6C-3BD58BCA3333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51100" y="1053000"/>
            <a:ext cx="8640000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US" noProof="0"/>
              <a:t>Click to edit first level (Arial 18pt)</a:t>
            </a:r>
          </a:p>
          <a:p>
            <a:pPr lvl="1"/>
            <a:r>
              <a:rPr lang="en-US" noProof="0"/>
              <a:t>Second level (Arial 16pt)</a:t>
            </a:r>
          </a:p>
          <a:p>
            <a:pPr lvl="2"/>
            <a:r>
              <a:rPr lang="en-US" noProof="0"/>
              <a:t>Third level (Arial 14pt)</a:t>
            </a:r>
          </a:p>
          <a:p>
            <a:pPr lvl="3"/>
            <a:r>
              <a:rPr lang="en-US" noProof="0"/>
              <a:t>Fourth level (Arial 14pt)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5957225-5128-D544-8A8A-E7F4F04818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100" y="5733256"/>
            <a:ext cx="8640000" cy="288000"/>
          </a:xfrm>
        </p:spPr>
        <p:txBody>
          <a:bodyPr anchor="b"/>
          <a:lstStyle>
            <a:lvl1pPr indent="0">
              <a:spcBef>
                <a:spcPts val="225"/>
              </a:spcBef>
              <a:defRPr sz="750" b="0">
                <a:solidFill>
                  <a:schemeClr val="accent6"/>
                </a:solidFill>
              </a:defRPr>
            </a:lvl1pPr>
            <a:lvl2pPr>
              <a:defRPr sz="1200"/>
            </a:lvl2pPr>
            <a:lvl3pPr>
              <a:defRPr sz="750"/>
            </a:lvl3pPr>
            <a:lvl4pPr>
              <a:defRPr/>
            </a:lvl4pPr>
          </a:lstStyle>
          <a:p>
            <a:pPr marL="0" lvl="0" indent="-405000">
              <a:buNone/>
            </a:pPr>
            <a:r>
              <a:rPr lang="en-US" sz="750" noProof="0">
                <a:solidFill>
                  <a:schemeClr val="accent6"/>
                </a:solidFill>
              </a:rPr>
              <a:t>Click to edit footnote (Arial 10pt)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B4382C1B-FE69-437D-904A-31E99FC24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700" y="6462001"/>
            <a:ext cx="6107485" cy="1308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CA" sz="600" smtClean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/>
              <a:t>Author | Organizational abbreviation | Date (Month DD, YYYY) | Rev. x.x | Confidentiality level</a:t>
            </a:r>
            <a:endParaRPr lang="en-US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B7927B6-776D-D843-BA20-6B8150C2CC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64537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T_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251223" y="152636"/>
            <a:ext cx="8640000" cy="396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rgbClr val="008768"/>
                </a:solidFill>
              </a:defRPr>
            </a:lvl1pPr>
          </a:lstStyle>
          <a:p>
            <a:r>
              <a:rPr lang="en-US" noProof="0"/>
              <a:t>Click to edit headline</a:t>
            </a:r>
          </a:p>
        </p:txBody>
      </p:sp>
      <p:sp>
        <p:nvSpPr>
          <p:cNvPr id="12" name="Textplatzhalt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251100" y="548680"/>
            <a:ext cx="8640000" cy="32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en-US" noProof="0"/>
              <a:t>Click to edit sub-headline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251520" y="1053000"/>
            <a:ext cx="1998000" cy="496800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8768"/>
              </a:buClr>
              <a:buSzPct val="120000"/>
              <a:tabLst/>
              <a:defRPr/>
            </a:lvl1pPr>
            <a:lvl2pPr marL="189000" indent="-189000">
              <a:lnSpc>
                <a:spcPct val="100000"/>
              </a:lnSpc>
              <a:spcBef>
                <a:spcPts val="750"/>
              </a:spcBef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 noProof="0"/>
              <a:t>Click to edit first level (Arial 18pt)</a:t>
            </a:r>
          </a:p>
          <a:p>
            <a:pPr lvl="1"/>
            <a:r>
              <a:rPr lang="en-US" noProof="0"/>
              <a:t>Second level (Arial 16pt)</a:t>
            </a:r>
          </a:p>
          <a:p>
            <a:pPr lvl="2"/>
            <a:r>
              <a:rPr lang="en-US" noProof="0"/>
              <a:t>Third level (Arial 14pt)</a:t>
            </a:r>
          </a:p>
          <a:p>
            <a:pPr lvl="3"/>
            <a:r>
              <a:rPr lang="en-US" noProof="0"/>
              <a:t>Fourth level (Arial 14pt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EC85C3-B4DC-4581-8877-C6C8C5F794B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465766" y="1053000"/>
            <a:ext cx="6426000" cy="4968000"/>
          </a:xfrm>
        </p:spPr>
        <p:txBody>
          <a:bodyPr/>
          <a:lstStyle>
            <a:lvl1pPr algn="ctr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r>
              <a:rPr lang="en-US" noProof="0"/>
              <a:t>Click icon </a:t>
            </a:r>
            <a:br>
              <a:rPr lang="en-US" noProof="0"/>
            </a:br>
            <a:r>
              <a:rPr lang="en-US" noProof="0"/>
              <a:t>to add table, chart, smart art, image or video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868EC9B1-8BF2-479F-A3C0-AF7719C251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700" y="6462001"/>
            <a:ext cx="6107485" cy="1308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CA" sz="600" smtClean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/>
              <a:t>Author | Organizational abbreviation | Date (Month DD, YYYY) | Rev. x.x | Confidentiality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66483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T_conten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CE164A-BE67-4245-9CF8-913F7F4D60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1222" y="152636"/>
            <a:ext cx="8640000" cy="396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headline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9A09258E-FC34-45B9-8E24-003B444E30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1223" y="1053000"/>
            <a:ext cx="4212431" cy="496800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8768"/>
              </a:buClr>
              <a:buSzPct val="120000"/>
              <a:tabLst/>
              <a:defRPr/>
            </a:lvl1pPr>
            <a:lvl2pPr marL="189000" indent="-189000">
              <a:lnSpc>
                <a:spcPct val="100000"/>
              </a:lnSpc>
              <a:spcBef>
                <a:spcPts val="750"/>
              </a:spcBef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</a:lstStyle>
          <a:p>
            <a:pPr lvl="0"/>
            <a:r>
              <a:rPr lang="en-US" noProof="0"/>
              <a:t>Click to edit first level (Arial 18pt)</a:t>
            </a:r>
          </a:p>
          <a:p>
            <a:pPr lvl="1"/>
            <a:r>
              <a:rPr lang="en-US" noProof="0"/>
              <a:t>Second level (Arial 16pt)</a:t>
            </a:r>
          </a:p>
          <a:p>
            <a:pPr lvl="2"/>
            <a:r>
              <a:rPr lang="en-US" noProof="0"/>
              <a:t>Third level (Arial 14pt)</a:t>
            </a:r>
          </a:p>
          <a:p>
            <a:pPr lvl="3"/>
            <a:r>
              <a:rPr lang="en-US" noProof="0"/>
              <a:t>Fourth level (Arial 14pt)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42BC0A6F-C3AF-499A-8BB2-7013AF25A6F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680012" y="1053000"/>
            <a:ext cx="4212000" cy="4968000"/>
          </a:xfrm>
        </p:spPr>
        <p:txBody>
          <a:bodyPr/>
          <a:lstStyle>
            <a:lvl1pPr algn="ctr"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r>
              <a:rPr lang="en-US" noProof="0"/>
              <a:t>Click icon </a:t>
            </a:r>
            <a:br>
              <a:rPr lang="en-US" noProof="0"/>
            </a:br>
            <a:r>
              <a:rPr lang="en-US" noProof="0"/>
              <a:t>to add table, chart, smart art, image or video</a:t>
            </a:r>
          </a:p>
        </p:txBody>
      </p:sp>
      <p:sp>
        <p:nvSpPr>
          <p:cNvPr id="7" name="Textplatzhalter 27">
            <a:extLst>
              <a:ext uri="{FF2B5EF4-FFF2-40B4-BE49-F238E27FC236}">
                <a16:creationId xmlns:a16="http://schemas.microsoft.com/office/drawing/2014/main" id="{484B9228-1752-4A7C-9CD1-EC6485BA87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1100" y="548680"/>
            <a:ext cx="8640000" cy="32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en-US" noProof="0"/>
              <a:t>Click to edit sub-headli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1DD3596D-C841-4E61-AFC2-D12CB7FD40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700" y="6462001"/>
            <a:ext cx="6107485" cy="1308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CA" sz="600" smtClean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/>
              <a:t>Author | Organizational abbreviation | Date (Month DD, YYYY) | Rev. x.x | Confidentiality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137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T_content_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187B9FF-CCA0-4521-9A00-73BF941FCC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520" y="1089025"/>
            <a:ext cx="2727000" cy="4931975"/>
          </a:xfrm>
          <a:solidFill>
            <a:srgbClr val="008768"/>
          </a:solidFill>
        </p:spPr>
        <p:txBody>
          <a:bodyPr lIns="72000" tIns="54000" rIns="36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first level (Arial 18pt)</a:t>
            </a:r>
          </a:p>
          <a:p>
            <a:pPr lvl="1"/>
            <a:r>
              <a:rPr lang="en-US" noProof="0"/>
              <a:t>Second level (Arial 16pt, Square)</a:t>
            </a:r>
          </a:p>
          <a:p>
            <a:pPr lvl="2"/>
            <a:r>
              <a:rPr lang="en-US" noProof="0"/>
              <a:t>Third level (Arial 14pt, Line)</a:t>
            </a:r>
          </a:p>
          <a:p>
            <a:pPr lvl="3"/>
            <a:r>
              <a:rPr lang="en-US" noProof="0"/>
              <a:t>Fourth level (Arial 14pt, Circle)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8E33E090-28C2-418D-9416-9DDE8095CE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07600" y="1089025"/>
            <a:ext cx="2727000" cy="4931975"/>
          </a:xfrm>
          <a:solidFill>
            <a:srgbClr val="008768"/>
          </a:solidFill>
        </p:spPr>
        <p:txBody>
          <a:bodyPr lIns="72000" tIns="54000" rIns="36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first level (Arial 18pt)</a:t>
            </a:r>
          </a:p>
          <a:p>
            <a:pPr lvl="1"/>
            <a:r>
              <a:rPr lang="en-US" noProof="0"/>
              <a:t>Second level (Arial 16pt, Square)</a:t>
            </a:r>
          </a:p>
          <a:p>
            <a:pPr lvl="2"/>
            <a:r>
              <a:rPr lang="en-US" noProof="0"/>
              <a:t>Third level (Arial 14pt, Line)</a:t>
            </a:r>
          </a:p>
          <a:p>
            <a:pPr lvl="3"/>
            <a:r>
              <a:rPr lang="en-US" noProof="0"/>
              <a:t>Fourth level (Arial 14pt, Circle)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6C1545C7-65EE-4F41-9596-48E431CB7B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65480" y="1089025"/>
            <a:ext cx="2727000" cy="4931975"/>
          </a:xfrm>
          <a:solidFill>
            <a:srgbClr val="008768"/>
          </a:solidFill>
        </p:spPr>
        <p:txBody>
          <a:bodyPr lIns="72000" tIns="54000" rIns="36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noProof="0"/>
              <a:t>Click to edit first level (Arial 18pt)</a:t>
            </a:r>
          </a:p>
          <a:p>
            <a:pPr lvl="1"/>
            <a:r>
              <a:rPr lang="en-US" noProof="0"/>
              <a:t>Second level (Arial 16pt, Square)</a:t>
            </a:r>
          </a:p>
          <a:p>
            <a:pPr lvl="2"/>
            <a:r>
              <a:rPr lang="en-US" noProof="0"/>
              <a:t>Third level (Arial 14pt, Line)</a:t>
            </a:r>
          </a:p>
          <a:p>
            <a:pPr lvl="3"/>
            <a:r>
              <a:rPr lang="en-US" noProof="0"/>
              <a:t>Fourth level (Arial 14pt, Circle)</a:t>
            </a:r>
          </a:p>
        </p:txBody>
      </p:sp>
      <p:sp>
        <p:nvSpPr>
          <p:cNvPr id="11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251520" y="152636"/>
            <a:ext cx="8640000" cy="399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rgbClr val="008768"/>
                </a:solidFill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2" name="Textplatzhalt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251520" y="548680"/>
            <a:ext cx="8640000" cy="324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en-US" noProof="0"/>
              <a:t>Click to edit sub-headli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DF0FF1CD-0DF5-4092-B2C9-3363CEDF95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700" y="6462001"/>
            <a:ext cx="6107485" cy="1308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CA" sz="600" smtClean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/>
              <a:t>Author | Organizational abbreviation | Date (Month DD, YYYY) | Rev. x.x | Confidentiality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4347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quote">
    <p:bg>
      <p:bgPr>
        <a:solidFill>
          <a:srgbClr val="2D37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2A28A00-3729-40CA-84F8-5AA88BE077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65785" y="1029152"/>
            <a:ext cx="4936523" cy="2405062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850" b="1">
                <a:latin typeface="+mj-lt"/>
              </a:defRPr>
            </a:lvl1pPr>
          </a:lstStyle>
          <a:p>
            <a:pPr lvl="0"/>
            <a:r>
              <a:rPr lang="en-US" noProof="0"/>
              <a:t>Click to edit quote”</a:t>
            </a:r>
          </a:p>
        </p:txBody>
      </p:sp>
      <p:sp>
        <p:nvSpPr>
          <p:cNvPr id="7" name="Titelplatzhalter 1"/>
          <p:cNvSpPr txBox="1">
            <a:spLocks/>
          </p:cNvSpPr>
          <p:nvPr userDrawn="1"/>
        </p:nvSpPr>
        <p:spPr>
          <a:xfrm>
            <a:off x="1838881" y="745809"/>
            <a:ext cx="593363" cy="111057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“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65785" y="3605786"/>
            <a:ext cx="4947950" cy="277260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US" noProof="0"/>
              <a:t>Click to edit sublin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05D7AEA-6371-A845-81C6-3342E27380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52500" cy="58674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6C2C35E-AB27-1146-A0E9-E99B5BED6C7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37309" y="6499226"/>
            <a:ext cx="954400" cy="168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211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T_image_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4000" cy="62372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ick icon </a:t>
            </a:r>
            <a:br>
              <a:rPr lang="en-US" noProof="0" dirty="0"/>
            </a:br>
            <a:r>
              <a:rPr lang="en-US" noProof="0" dirty="0"/>
              <a:t>to add image </a:t>
            </a:r>
          </a:p>
        </p:txBody>
      </p:sp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251222" y="1089025"/>
            <a:ext cx="4212432" cy="974338"/>
          </a:xfrm>
          <a:prstGeom prst="rect">
            <a:avLst/>
          </a:prstGeom>
          <a:effectLst/>
        </p:spPr>
        <p:txBody>
          <a:bodyPr vert="horz" lIns="0" tIns="0" rIns="0" bIns="0" rtlCol="0" anchor="b">
            <a:noAutofit/>
          </a:bodyPr>
          <a:lstStyle>
            <a:lvl1pPr algn="l">
              <a:defRPr sz="285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headlin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51222" y="2271790"/>
            <a:ext cx="4212432" cy="536575"/>
          </a:xfrm>
          <a:prstGeom prst="rect">
            <a:avLst/>
          </a:prstGeom>
          <a:effectLst/>
        </p:spPr>
        <p:txBody>
          <a:bodyPr/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sub-headline</a:t>
            </a:r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CFF8A0C7-A319-41A0-B7DC-F601BD6DB1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700" y="6462001"/>
            <a:ext cx="6107485" cy="1308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CA" sz="600" smtClean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/>
              <a:t>Author | Organizational abbreviation | Date (Month DD, YYYY) | Rev. x.x | Confidentiality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51267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T_image_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4000" cy="62372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ick icon </a:t>
            </a:r>
            <a:br>
              <a:rPr lang="en-US" noProof="0" dirty="0"/>
            </a:br>
            <a:r>
              <a:rPr lang="en-US" noProof="0" dirty="0"/>
              <a:t>to add image </a:t>
            </a:r>
          </a:p>
        </p:txBody>
      </p:sp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251222" y="1089025"/>
            <a:ext cx="4212432" cy="993412"/>
          </a:xfrm>
          <a:prstGeom prst="rect">
            <a:avLst/>
          </a:prstGeom>
          <a:effectLst/>
        </p:spPr>
        <p:txBody>
          <a:bodyPr vert="horz" lIns="0" tIns="0" rIns="0" bIns="0" rtlCol="0" anchor="b">
            <a:noAutofit/>
          </a:bodyPr>
          <a:lstStyle>
            <a:lvl1pPr algn="l">
              <a:defRPr sz="285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headlin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251222" y="2278064"/>
            <a:ext cx="4212432" cy="536575"/>
          </a:xfrm>
          <a:prstGeom prst="rect">
            <a:avLst/>
          </a:prstGeom>
          <a:effectLst/>
        </p:spPr>
        <p:txBody>
          <a:bodyPr/>
          <a:lstStyle>
            <a:lvl1pPr marL="0" indent="0"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sub-headline</a:t>
            </a:r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8C5A6C01-81C4-44E1-9540-AF0B1AEF35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700" y="6462001"/>
            <a:ext cx="6107485" cy="1308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CA" sz="600" smtClean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/>
              <a:t>Author | Organizational abbreviation | Date (Month DD, YYYY) | Rev. x.x | Confidentiality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4789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T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CD60963C-EF0E-4B21-BD1D-C058D5110499}"/>
              </a:ext>
            </a:extLst>
          </p:cNvPr>
          <p:cNvSpPr>
            <a:spLocks noGrp="1"/>
          </p:cNvSpPr>
          <p:nvPr>
            <p:ph type="media" sz="quarter" idx="20" hasCustomPrompt="1"/>
          </p:nvPr>
        </p:nvSpPr>
        <p:spPr>
          <a:xfrm>
            <a:off x="0" y="0"/>
            <a:ext cx="9144000" cy="6237288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algn="ctr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dirty="0"/>
              <a:t>Click icon </a:t>
            </a:r>
            <a:br>
              <a:rPr lang="en-US" dirty="0"/>
            </a:br>
            <a:r>
              <a:rPr lang="en-US" dirty="0"/>
              <a:t>to add video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B06B1F2F-B0EF-459A-BA3C-F3EDB13815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700" y="6462001"/>
            <a:ext cx="6107485" cy="1308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CA" sz="600" smtClean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/>
              <a:t>Author | Organizational abbreviation | Date (Month DD, YYYY) | Rev. x.x | Confidentiality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2647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Rubrik och innehåll">
    <p:bg>
      <p:bgPr>
        <a:solidFill>
          <a:srgbClr val="8AC2E6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375" y="0"/>
            <a:ext cx="4329625" cy="5767197"/>
          </a:xfrm>
          <a:prstGeom prst="rect">
            <a:avLst/>
          </a:prstGeom>
        </p:spPr>
      </p:pic>
      <p:sp>
        <p:nvSpPr>
          <p:cNvPr id="12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31875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4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3187533" cy="4166998"/>
          </a:xfrm>
        </p:spPr>
        <p:txBody>
          <a:bodyPr/>
          <a:lstStyle>
            <a:lvl1pPr>
              <a:defRPr sz="2800" baseline="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0972776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q&amp;a">
    <p:bg>
      <p:bgPr>
        <a:solidFill>
          <a:srgbClr val="2D37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57" t="27597" r="21524" b="27023"/>
          <a:stretch/>
        </p:blipFill>
        <p:spPr>
          <a:xfrm>
            <a:off x="2208769" y="1349115"/>
            <a:ext cx="2068643" cy="2218544"/>
          </a:xfrm>
          <a:prstGeom prst="rect">
            <a:avLst/>
          </a:prstGeom>
        </p:spPr>
      </p:pic>
      <p:sp>
        <p:nvSpPr>
          <p:cNvPr id="3" name="Textfeld 2"/>
          <p:cNvSpPr txBox="1"/>
          <p:nvPr userDrawn="1"/>
        </p:nvSpPr>
        <p:spPr>
          <a:xfrm>
            <a:off x="5475158" y="40923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noProof="0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6086DBB-E820-4623-9CED-A7E304B5C7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26494" y="3614739"/>
            <a:ext cx="3049191" cy="1323975"/>
          </a:xfrm>
        </p:spPr>
        <p:txBody>
          <a:bodyPr/>
          <a:lstStyle>
            <a:lvl1pPr>
              <a:lnSpc>
                <a:spcPct val="90000"/>
              </a:lnSpc>
              <a:defRPr sz="2850" b="1"/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Click to edit Q&amp;A title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BB6606F-1F86-BD4F-B1F4-5587566622F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2876550" cy="16891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EF5AAB7-CC4C-8642-B6E2-EF8D9297690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937309" y="6499226"/>
            <a:ext cx="954400" cy="168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933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T_closing">
    <p:bg>
      <p:bgPr>
        <a:solidFill>
          <a:srgbClr val="2D37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465785" y="5674382"/>
            <a:ext cx="4131468" cy="3693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marR="0" indent="0" algn="l" defTabSz="685800" rtl="0" eaLnBrk="1" fontAlgn="base" latinLnBrk="0" hangingPunct="1">
              <a:lnSpc>
                <a:spcPct val="100000"/>
              </a:lnSpc>
              <a:spcBef>
                <a:spcPts val="38"/>
              </a:spcBef>
              <a:spcAft>
                <a:spcPct val="0"/>
              </a:spcAft>
              <a:buClr>
                <a:srgbClr val="008768"/>
              </a:buClr>
              <a:buSzPct val="120000"/>
              <a:buFontTx/>
              <a:buNone/>
              <a:tabLst/>
              <a:defRPr sz="1200" baseline="0">
                <a:solidFill>
                  <a:schemeClr val="tx2"/>
                </a:solidFill>
              </a:defRPr>
            </a:lvl1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38"/>
              </a:spcBef>
              <a:spcAft>
                <a:spcPct val="0"/>
              </a:spcAft>
              <a:buClr>
                <a:srgbClr val="008768"/>
              </a:buClr>
              <a:buSzPct val="120000"/>
              <a:buFontTx/>
              <a:buNone/>
              <a:tabLst/>
              <a:defRPr/>
            </a:pPr>
            <a:r>
              <a:rPr lang="en-US" noProof="0"/>
              <a:t>Click to edit event, name of presenter, title, date and confidentiality level in separate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FAED50-E2D5-49B6-B54E-49F0F88AAF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65785" y="1895027"/>
            <a:ext cx="4212431" cy="1323975"/>
          </a:xfrm>
        </p:spPr>
        <p:txBody>
          <a:bodyPr/>
          <a:lstStyle>
            <a:lvl1pPr>
              <a:lnSpc>
                <a:spcPct val="90000"/>
              </a:lnSpc>
              <a:defRPr sz="2850" b="1"/>
            </a:lvl1pPr>
          </a:lstStyle>
          <a:p>
            <a:pPr lvl="0"/>
            <a:r>
              <a:rPr lang="en-US" noProof="0"/>
              <a:t>Click to edi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CC5E9A9-A040-054E-9C87-44037914BC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26306" y="-8324"/>
            <a:ext cx="1817694" cy="451744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8484C0C-67CF-214F-93D6-667274692F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419735" y="504357"/>
            <a:ext cx="1188132" cy="105286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D1EA695-D019-7048-8DC0-51B28D6AECF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937309" y="6499226"/>
            <a:ext cx="954400" cy="168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4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BF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6494" y="3326145"/>
            <a:ext cx="5661618" cy="1646307"/>
          </a:xfrm>
        </p:spPr>
        <p:txBody>
          <a:bodyPr anchor="b">
            <a:normAutofit/>
          </a:bodyPr>
          <a:lstStyle>
            <a:lvl1pPr marL="0" indent="0">
              <a:buNone/>
              <a:defRPr sz="3600" b="1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Add the title of your presentation here</a:t>
            </a:r>
          </a:p>
        </p:txBody>
      </p:sp>
      <p:sp>
        <p:nvSpPr>
          <p:cNvPr id="11" name="Subtitle 1"/>
          <p:cNvSpPr txBox="1">
            <a:spLocks/>
          </p:cNvSpPr>
          <p:nvPr userDrawn="1"/>
        </p:nvSpPr>
        <p:spPr>
          <a:xfrm>
            <a:off x="3389892" y="6482697"/>
            <a:ext cx="1050635" cy="2136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  <a:latin typeface="Helvetica Neue"/>
                <a:cs typeface="Helvetica Neue"/>
              </a:rPr>
              <a:t>Powered b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58729" y="4972051"/>
            <a:ext cx="2938463" cy="514349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6015" y="6388544"/>
            <a:ext cx="1381743" cy="448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1337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ponse Summ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B593F9-7B30-274B-BFFF-492683631E4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11403" y="4852525"/>
            <a:ext cx="4576388" cy="46778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>
          <a:xfrm>
            <a:off x="204788" y="3113001"/>
            <a:ext cx="82296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04788" y="4043008"/>
            <a:ext cx="3859212" cy="374649"/>
          </a:xfrm>
        </p:spPr>
        <p:txBody>
          <a:bodyPr/>
          <a:lstStyle>
            <a:lvl2pPr marL="4763" indent="0"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</a:lstStyle>
          <a:p>
            <a:pPr lvl="1"/>
            <a:r>
              <a:rPr lang="en-US" dirty="0"/>
              <a:t>Total Responses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211403" y="5397121"/>
            <a:ext cx="4576388" cy="467783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04641741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8B48FB-E956-2048-9E74-C69E7CAA26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22322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48FB-E956-2048-9E74-C69E7CAA26C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15889" y="965200"/>
            <a:ext cx="3887787" cy="3492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022051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8B48FB-E956-2048-9E74-C69E7CAA26CC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79431881"/>
              </p:ext>
            </p:extLst>
          </p:nvPr>
        </p:nvGraphicFramePr>
        <p:xfrm>
          <a:off x="204788" y="1403201"/>
          <a:ext cx="5953649" cy="2913167"/>
        </p:xfrm>
        <a:graphic>
          <a:graphicData uri="http://schemas.openxmlformats.org/drawingml/2006/table">
            <a:tbl>
              <a:tblPr firstRow="1" lastRow="1" bandRow="1">
                <a:tableStyleId>{1FECB4D8-DB02-4DC6-A0A2-4F2EBAE1DC90}</a:tableStyleId>
              </a:tblPr>
              <a:tblGrid>
                <a:gridCol w="48023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64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48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16167"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nswer Choices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esponses</a:t>
                      </a:r>
                    </a:p>
                  </a:txBody>
                  <a:tcPr marT="60960" marB="6096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167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Less than one year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0.00%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0</a:t>
                      </a:r>
                    </a:p>
                  </a:txBody>
                  <a:tcPr marT="60960" marB="6096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167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 to 3 years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0.00%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0</a:t>
                      </a:r>
                    </a:p>
                  </a:txBody>
                  <a:tcPr marT="60960" marB="6096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167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3 to 5 years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25.00%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25</a:t>
                      </a:r>
                    </a:p>
                  </a:txBody>
                  <a:tcPr marT="60960" marB="6096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167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5 to 7 years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5.00%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5</a:t>
                      </a:r>
                    </a:p>
                  </a:txBody>
                  <a:tcPr marT="60960" marB="6096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6167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More than seven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years</a:t>
                      </a:r>
                      <a:endParaRPr lang="en-US" sz="14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40.00%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40</a:t>
                      </a:r>
                    </a:p>
                  </a:txBody>
                  <a:tcPr marT="60960" marB="6096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0574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6167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Total</a:t>
                      </a: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rgbClr val="FFFFFF"/>
                        </a:solidFill>
                        <a:latin typeface="Arial"/>
                        <a:cs typeface="Arial"/>
                      </a:endParaRPr>
                    </a:p>
                  </a:txBody>
                  <a:tcPr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00</a:t>
                      </a:r>
                    </a:p>
                  </a:txBody>
                  <a:tcPr marT="60960" marB="6096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15889" y="965200"/>
            <a:ext cx="4478337" cy="3492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50307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92811A-3C02-45BE-A054-4DABCFCF0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AFB5CB-2E95-4559-ABB1-067F8CC49AA9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A0C09F-A97F-4CF1-9A7A-E5A430EDF9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86D0C7-04E3-4CB9-9834-E53D49BA4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84F606-1ECD-4BD6-BDB2-5FDEA86DDD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07263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6B49D5-9F56-4656-AFCA-C91EF1EB20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855A3B-7B89-47F3-8B33-3C99182C0B5F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EE0860-AF8F-4AEA-AFF0-8AD703BE9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D1FBF0-E0C3-4EE0-806C-4231ED609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B31E57-78C7-490C-BD4F-2C50A36A3C4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41929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8C0EE2-EFB1-46CC-B39B-EDA3747EEC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CD78EE-1F78-4BFE-A985-484EC815D65F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E81C2-9BAC-4EB2-B117-063FD67985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3A81D2-F6C2-462B-B89D-6BBB0FB15D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C91041-B865-4D22-AB9D-1330F2DBBC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2889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ubrik och innehåll">
    <p:bg>
      <p:bgPr>
        <a:solidFill>
          <a:srgbClr val="CACCCD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sp>
        <p:nvSpPr>
          <p:cNvPr id="11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3187533" cy="4166998"/>
          </a:xfrm>
        </p:spPr>
        <p:txBody>
          <a:bodyPr/>
          <a:lstStyle>
            <a:lvl1pPr>
              <a:defRPr sz="280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innehåll 2"/>
          <p:cNvSpPr>
            <a:spLocks noGrp="1"/>
          </p:cNvSpPr>
          <p:nvPr>
            <p:ph idx="10" hasCustomPrompt="1"/>
          </p:nvPr>
        </p:nvSpPr>
        <p:spPr>
          <a:xfrm>
            <a:off x="5236800" y="1417638"/>
            <a:ext cx="3187533" cy="4166998"/>
          </a:xfrm>
        </p:spPr>
        <p:txBody>
          <a:bodyPr/>
          <a:lstStyle>
            <a:lvl1pPr>
              <a:defRPr sz="280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3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77043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106061803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E5E27C41-3686-4B13-A7D3-E258F263E6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CCDF16-6B53-4ADF-83E5-96A2FFBDB16A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5AACE29-1B24-4EF1-963D-6142AC8805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5EE70E9-87B1-42A3-8059-80A7A1C3F0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DD7D7C-D0CC-4535-9D8C-04E3F214D1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7208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B40D9E9-8423-47C2-B09F-E10F6699A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20D2C0-6768-488B-AF6C-9F3FD6156166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7FA6424-CA4D-4420-B1A8-345A66C826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8D4A69-B10C-47C1-8855-217137F10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303AE1-2374-480E-BA7B-37D004CA3B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63004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D8C12D7-AED8-4754-9CD8-4D949DD6F3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5E33B3-A59D-463F-B347-5D600A7C4122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C121570-8ABA-4480-BEB7-7E049FE72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BBB2FB9-3E47-4FE8-8252-1CD692077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DF20ED-2964-466E-AD9D-2D5804A0C8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23966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20FE7F6-8F08-45C4-9FB4-0AE4EAAEC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7EFADF-E5F7-4705-91F2-8065AD554331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7173A68A-E83F-4E3B-B99B-A7E6A4E9B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853819D-AD89-480A-B4A2-FF8CA43DB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B941A-3EE5-47FD-A15F-70DBBE7DD1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82024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95071FD-5281-4C1E-A4A4-4B0C482B80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1CD262-02C9-44E5-914B-7290C929C9EF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0FC6E1F-AF9D-4C2A-9766-E1F748997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165101-FE64-4B2A-B99A-68E80C9D1F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5F428B-7E5F-4463-8946-CC0FD22B64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85802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236A3F7C-8E35-4D9F-AECF-982283F1A3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4DBD42-9DE5-444C-8985-3C90FF961A2E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0628906-244E-4F28-9F09-A7800E50C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AC3CC94-5F6B-4DC6-9701-E6FE4E6A4A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524DBE-ED34-4CAC-A112-91FE7E5B1D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26066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7E67D4-6E51-4C3D-B8B3-B4BD5ACB2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69D2FF-78B6-4A0C-BF87-263257C218A7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E96F6C-F0C6-4B13-9674-BAE00A2C73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DDC494-209F-4B70-BA92-6AF4BABED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8D8031-8D08-47DA-BB96-A65BC2DD7D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04505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DD04E6-31AE-4AE4-B6B7-EBF89AFA51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EB2D80-A067-4969-B1CB-42AA7F7CCFFF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E9627F-2D51-43A5-8EAD-A410092BD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F72221-7EAF-4E80-8B09-386BBD3AE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6D72D6-0779-4F84-95FD-08C2AE25E2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45154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38688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0349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Rubrik och innehåll">
    <p:bg>
      <p:bgPr>
        <a:solidFill>
          <a:srgbClr val="8AC2E6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sp>
        <p:nvSpPr>
          <p:cNvPr id="1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3187533" cy="4166998"/>
          </a:xfrm>
        </p:spPr>
        <p:txBody>
          <a:bodyPr/>
          <a:lstStyle>
            <a:lvl1pPr>
              <a:defRPr sz="280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4" name="Platshållare för innehåll 2"/>
          <p:cNvSpPr>
            <a:spLocks noGrp="1"/>
          </p:cNvSpPr>
          <p:nvPr>
            <p:ph idx="10" hasCustomPrompt="1"/>
          </p:nvPr>
        </p:nvSpPr>
        <p:spPr>
          <a:xfrm>
            <a:off x="5236800" y="1417638"/>
            <a:ext cx="3187533" cy="4166998"/>
          </a:xfrm>
        </p:spPr>
        <p:txBody>
          <a:bodyPr/>
          <a:lstStyle>
            <a:lvl1pPr>
              <a:defRPr sz="280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5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77043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318307902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73588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77604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37073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63932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09484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26762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41198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75449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9154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sp>
        <p:nvSpPr>
          <p:cNvPr id="10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7704333" cy="4166998"/>
          </a:xfrm>
        </p:spPr>
        <p:txBody>
          <a:bodyPr/>
          <a:lstStyle>
            <a:lvl1pPr>
              <a:defRPr sz="280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77043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14497185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Rubrik och innehåll">
    <p:bg>
      <p:bgPr>
        <a:solidFill>
          <a:srgbClr val="ACD3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sp>
        <p:nvSpPr>
          <p:cNvPr id="12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7704333" cy="4166998"/>
          </a:xfrm>
        </p:spPr>
        <p:txBody>
          <a:bodyPr/>
          <a:lstStyle>
            <a:lvl1pPr>
              <a:defRPr sz="280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3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77043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420112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Rubrik och innehåll">
    <p:bg>
      <p:bgPr>
        <a:solidFill>
          <a:srgbClr val="CACCCD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305468" y="1524001"/>
            <a:ext cx="3526199" cy="554182"/>
          </a:xfrm>
        </p:spPr>
        <p:txBody>
          <a:bodyPr lIns="0" tIns="0" rIns="0" bIns="0" anchor="t" anchorCtr="0"/>
          <a:lstStyle>
            <a:lvl1pPr algn="l">
              <a:lnSpc>
                <a:spcPts val="4400"/>
              </a:lnSpc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305469" y="2078183"/>
            <a:ext cx="3526198" cy="2138217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>
                <a:solidFill>
                  <a:srgbClr val="00458A"/>
                </a:solidFill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Skriv din text här…</a:t>
            </a:r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sp>
        <p:nvSpPr>
          <p:cNvPr id="10" name="Platshållare för bild 5"/>
          <p:cNvSpPr>
            <a:spLocks noGrp="1"/>
          </p:cNvSpPr>
          <p:nvPr>
            <p:ph type="pic" sz="quarter" idx="10"/>
          </p:nvPr>
        </p:nvSpPr>
        <p:spPr>
          <a:xfrm>
            <a:off x="1338263" y="1524000"/>
            <a:ext cx="2687637" cy="26924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11091007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ubrik och innehåll">
    <p:bg>
      <p:bgPr>
        <a:solidFill>
          <a:srgbClr val="8AC2E6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sp>
        <p:nvSpPr>
          <p:cNvPr id="13" name="Platshållare för bild 5"/>
          <p:cNvSpPr>
            <a:spLocks noGrp="1"/>
          </p:cNvSpPr>
          <p:nvPr>
            <p:ph type="pic" sz="quarter" idx="10"/>
          </p:nvPr>
        </p:nvSpPr>
        <p:spPr>
          <a:xfrm>
            <a:off x="1338263" y="1524000"/>
            <a:ext cx="2687637" cy="26924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305468" y="1524001"/>
            <a:ext cx="3526199" cy="554182"/>
          </a:xfrm>
        </p:spPr>
        <p:txBody>
          <a:bodyPr lIns="0" tIns="0" rIns="0" bIns="0" anchor="t" anchorCtr="0"/>
          <a:lstStyle>
            <a:lvl1pPr algn="l">
              <a:lnSpc>
                <a:spcPts val="4400"/>
              </a:lnSpc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4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305469" y="2078183"/>
            <a:ext cx="3526198" cy="2138217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>
                <a:solidFill>
                  <a:srgbClr val="00458A"/>
                </a:solidFill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Skriv din text här…</a:t>
            </a:r>
          </a:p>
        </p:txBody>
      </p:sp>
    </p:spTree>
    <p:extLst>
      <p:ext uri="{BB962C8B-B14F-4D97-AF65-F5344CB8AC3E}">
        <p14:creationId xmlns:p14="http://schemas.microsoft.com/office/powerpoint/2010/main" val="8059237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ubrik och innehåll">
    <p:bg>
      <p:bgPr>
        <a:solidFill>
          <a:srgbClr val="CACCCD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sp>
        <p:nvSpPr>
          <p:cNvPr id="48" name="Platshållare för bild 47"/>
          <p:cNvSpPr>
            <a:spLocks noGrp="1"/>
          </p:cNvSpPr>
          <p:nvPr>
            <p:ph type="pic" sz="quarter" idx="10"/>
          </p:nvPr>
        </p:nvSpPr>
        <p:spPr>
          <a:xfrm>
            <a:off x="1683281" y="879978"/>
            <a:ext cx="1384300" cy="1363662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54" name="Platshållare för bild 47"/>
          <p:cNvSpPr>
            <a:spLocks noGrp="1"/>
          </p:cNvSpPr>
          <p:nvPr>
            <p:ph type="pic" sz="quarter" idx="11"/>
          </p:nvPr>
        </p:nvSpPr>
        <p:spPr>
          <a:xfrm>
            <a:off x="1683281" y="2396040"/>
            <a:ext cx="1384300" cy="1363662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55" name="Platshållare för bild 47"/>
          <p:cNvSpPr>
            <a:spLocks noGrp="1"/>
          </p:cNvSpPr>
          <p:nvPr>
            <p:ph type="pic" sz="quarter" idx="12"/>
          </p:nvPr>
        </p:nvSpPr>
        <p:spPr>
          <a:xfrm>
            <a:off x="1683281" y="3930732"/>
            <a:ext cx="1384300" cy="1363662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65" name="Platshållare för innehåll 2"/>
          <p:cNvSpPr>
            <a:spLocks noGrp="1"/>
          </p:cNvSpPr>
          <p:nvPr>
            <p:ph idx="15" hasCustomPrompt="1"/>
          </p:nvPr>
        </p:nvSpPr>
        <p:spPr>
          <a:xfrm>
            <a:off x="3248562" y="1235034"/>
            <a:ext cx="3526198" cy="100860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>
                <a:solidFill>
                  <a:srgbClr val="00458A"/>
                </a:solidFill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Skriv din text här…</a:t>
            </a:r>
          </a:p>
        </p:txBody>
      </p:sp>
      <p:sp>
        <p:nvSpPr>
          <p:cNvPr id="71" name="Platshållare för innehåll 2"/>
          <p:cNvSpPr>
            <a:spLocks noGrp="1"/>
          </p:cNvSpPr>
          <p:nvPr>
            <p:ph idx="16" hasCustomPrompt="1"/>
          </p:nvPr>
        </p:nvSpPr>
        <p:spPr>
          <a:xfrm>
            <a:off x="3248562" y="879978"/>
            <a:ext cx="3526198" cy="35505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500">
                <a:solidFill>
                  <a:srgbClr val="00458A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Rubrik</a:t>
            </a:r>
          </a:p>
        </p:txBody>
      </p:sp>
      <p:sp>
        <p:nvSpPr>
          <p:cNvPr id="14" name="Platshållare för innehåll 2"/>
          <p:cNvSpPr>
            <a:spLocks noGrp="1"/>
          </p:cNvSpPr>
          <p:nvPr>
            <p:ph idx="17" hasCustomPrompt="1"/>
          </p:nvPr>
        </p:nvSpPr>
        <p:spPr>
          <a:xfrm>
            <a:off x="3248562" y="2751096"/>
            <a:ext cx="3526198" cy="100860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>
                <a:solidFill>
                  <a:srgbClr val="00458A"/>
                </a:solidFill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Skriv din text här…</a:t>
            </a:r>
          </a:p>
        </p:txBody>
      </p:sp>
      <p:sp>
        <p:nvSpPr>
          <p:cNvPr id="15" name="Platshållare för innehåll 2"/>
          <p:cNvSpPr>
            <a:spLocks noGrp="1"/>
          </p:cNvSpPr>
          <p:nvPr>
            <p:ph idx="18" hasCustomPrompt="1"/>
          </p:nvPr>
        </p:nvSpPr>
        <p:spPr>
          <a:xfrm>
            <a:off x="3248562" y="2396040"/>
            <a:ext cx="3526198" cy="35505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500">
                <a:solidFill>
                  <a:srgbClr val="00458A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Rubrik</a:t>
            </a:r>
          </a:p>
        </p:txBody>
      </p:sp>
      <p:sp>
        <p:nvSpPr>
          <p:cNvPr id="16" name="Platshållare för innehåll 2"/>
          <p:cNvSpPr>
            <a:spLocks noGrp="1"/>
          </p:cNvSpPr>
          <p:nvPr>
            <p:ph idx="19" hasCustomPrompt="1"/>
          </p:nvPr>
        </p:nvSpPr>
        <p:spPr>
          <a:xfrm>
            <a:off x="3248562" y="4285788"/>
            <a:ext cx="3526198" cy="100860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>
                <a:solidFill>
                  <a:srgbClr val="00458A"/>
                </a:solidFill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Skriv din text här…</a:t>
            </a:r>
          </a:p>
        </p:txBody>
      </p:sp>
      <p:sp>
        <p:nvSpPr>
          <p:cNvPr id="17" name="Platshållare för innehåll 2"/>
          <p:cNvSpPr>
            <a:spLocks noGrp="1"/>
          </p:cNvSpPr>
          <p:nvPr>
            <p:ph idx="20" hasCustomPrompt="1"/>
          </p:nvPr>
        </p:nvSpPr>
        <p:spPr>
          <a:xfrm>
            <a:off x="3248562" y="3930732"/>
            <a:ext cx="3526198" cy="35505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500">
                <a:solidFill>
                  <a:srgbClr val="00458A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8059237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Bildobjekt 9" descr="GS_logo_ne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000"/>
            <a:ext cx="1331976" cy="359664"/>
          </a:xfrm>
          <a:prstGeom prst="rect">
            <a:avLst/>
          </a:prstGeom>
        </p:spPr>
      </p:pic>
      <p:sp>
        <p:nvSpPr>
          <p:cNvPr id="12" name="textruta 11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>
                <a:solidFill>
                  <a:schemeClr val="bg1"/>
                </a:solidFill>
              </a:rPr>
              <a:t>Vi sätter Göteborg i rörelse</a:t>
            </a:r>
          </a:p>
        </p:txBody>
      </p:sp>
      <p:sp>
        <p:nvSpPr>
          <p:cNvPr id="7" name="Rubrik 1"/>
          <p:cNvSpPr>
            <a:spLocks noGrp="1"/>
          </p:cNvSpPr>
          <p:nvPr>
            <p:ph type="ctrTitle" hasCustomPrompt="1"/>
          </p:nvPr>
        </p:nvSpPr>
        <p:spPr>
          <a:xfrm>
            <a:off x="288000" y="360000"/>
            <a:ext cx="6400800" cy="1172467"/>
          </a:xfrm>
        </p:spPr>
        <p:txBody>
          <a:bodyPr lIns="0" tIns="0" rIns="0" bIns="0" anchor="t" anchorCtr="0">
            <a:noAutofit/>
          </a:bodyPr>
          <a:lstStyle>
            <a:lvl1pPr algn="l">
              <a:defRPr sz="7000" spc="-12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9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288000" y="1532467"/>
            <a:ext cx="6400800" cy="1752600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None/>
              <a:defRPr sz="27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9236997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Rubrik och innehåll">
    <p:bg>
      <p:bgPr>
        <a:solidFill>
          <a:srgbClr val="8AC2E6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sp>
        <p:nvSpPr>
          <p:cNvPr id="48" name="Platshållare för bild 47"/>
          <p:cNvSpPr>
            <a:spLocks noGrp="1"/>
          </p:cNvSpPr>
          <p:nvPr>
            <p:ph type="pic" sz="quarter" idx="10"/>
          </p:nvPr>
        </p:nvSpPr>
        <p:spPr>
          <a:xfrm>
            <a:off x="1683281" y="879978"/>
            <a:ext cx="1384300" cy="1363662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54" name="Platshållare för bild 47"/>
          <p:cNvSpPr>
            <a:spLocks noGrp="1"/>
          </p:cNvSpPr>
          <p:nvPr>
            <p:ph type="pic" sz="quarter" idx="11"/>
          </p:nvPr>
        </p:nvSpPr>
        <p:spPr>
          <a:xfrm>
            <a:off x="1683281" y="2396040"/>
            <a:ext cx="1384300" cy="1363662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55" name="Platshållare för bild 47"/>
          <p:cNvSpPr>
            <a:spLocks noGrp="1"/>
          </p:cNvSpPr>
          <p:nvPr>
            <p:ph type="pic" sz="quarter" idx="12"/>
          </p:nvPr>
        </p:nvSpPr>
        <p:spPr>
          <a:xfrm>
            <a:off x="1683281" y="3930732"/>
            <a:ext cx="1384300" cy="1363662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14" name="Platshållare för innehåll 2"/>
          <p:cNvSpPr>
            <a:spLocks noGrp="1"/>
          </p:cNvSpPr>
          <p:nvPr>
            <p:ph idx="15" hasCustomPrompt="1"/>
          </p:nvPr>
        </p:nvSpPr>
        <p:spPr>
          <a:xfrm>
            <a:off x="3248562" y="1235034"/>
            <a:ext cx="3526198" cy="100860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>
                <a:solidFill>
                  <a:srgbClr val="00458A"/>
                </a:solidFill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Skriv din text här…</a:t>
            </a:r>
          </a:p>
        </p:txBody>
      </p:sp>
      <p:sp>
        <p:nvSpPr>
          <p:cNvPr id="15" name="Platshållare för innehåll 2"/>
          <p:cNvSpPr>
            <a:spLocks noGrp="1"/>
          </p:cNvSpPr>
          <p:nvPr>
            <p:ph idx="16" hasCustomPrompt="1"/>
          </p:nvPr>
        </p:nvSpPr>
        <p:spPr>
          <a:xfrm>
            <a:off x="3248562" y="879978"/>
            <a:ext cx="3526198" cy="35505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500">
                <a:solidFill>
                  <a:srgbClr val="00458A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Rubrik</a:t>
            </a:r>
          </a:p>
        </p:txBody>
      </p:sp>
      <p:sp>
        <p:nvSpPr>
          <p:cNvPr id="16" name="Platshållare för innehåll 2"/>
          <p:cNvSpPr>
            <a:spLocks noGrp="1"/>
          </p:cNvSpPr>
          <p:nvPr>
            <p:ph idx="19" hasCustomPrompt="1"/>
          </p:nvPr>
        </p:nvSpPr>
        <p:spPr>
          <a:xfrm>
            <a:off x="3248562" y="2751096"/>
            <a:ext cx="3526198" cy="100860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>
                <a:solidFill>
                  <a:srgbClr val="00458A"/>
                </a:solidFill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Skriv din text här…</a:t>
            </a:r>
          </a:p>
        </p:txBody>
      </p:sp>
      <p:sp>
        <p:nvSpPr>
          <p:cNvPr id="17" name="Platshållare för innehåll 2"/>
          <p:cNvSpPr>
            <a:spLocks noGrp="1"/>
          </p:cNvSpPr>
          <p:nvPr>
            <p:ph idx="20" hasCustomPrompt="1"/>
          </p:nvPr>
        </p:nvSpPr>
        <p:spPr>
          <a:xfrm>
            <a:off x="3248562" y="2396040"/>
            <a:ext cx="3526198" cy="35505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500">
                <a:solidFill>
                  <a:srgbClr val="00458A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Rubrik</a:t>
            </a:r>
          </a:p>
        </p:txBody>
      </p:sp>
      <p:sp>
        <p:nvSpPr>
          <p:cNvPr id="18" name="Platshållare för innehåll 2"/>
          <p:cNvSpPr>
            <a:spLocks noGrp="1"/>
          </p:cNvSpPr>
          <p:nvPr>
            <p:ph idx="21" hasCustomPrompt="1"/>
          </p:nvPr>
        </p:nvSpPr>
        <p:spPr>
          <a:xfrm>
            <a:off x="3248562" y="4285788"/>
            <a:ext cx="3526198" cy="100860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>
                <a:solidFill>
                  <a:srgbClr val="00458A"/>
                </a:solidFill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Skriv din text här…</a:t>
            </a:r>
          </a:p>
        </p:txBody>
      </p:sp>
      <p:sp>
        <p:nvSpPr>
          <p:cNvPr id="19" name="Platshållare för innehåll 2"/>
          <p:cNvSpPr>
            <a:spLocks noGrp="1"/>
          </p:cNvSpPr>
          <p:nvPr>
            <p:ph idx="22" hasCustomPrompt="1"/>
          </p:nvPr>
        </p:nvSpPr>
        <p:spPr>
          <a:xfrm>
            <a:off x="3248562" y="3930732"/>
            <a:ext cx="3526198" cy="355056"/>
          </a:xfrm>
        </p:spPr>
        <p:txBody>
          <a:bodyPr lIns="0" tIns="0" rIns="0" bIns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500">
                <a:solidFill>
                  <a:srgbClr val="00458A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rgbClr val="00458A"/>
                </a:solidFill>
              </a:defRPr>
            </a:lvl2pPr>
            <a:lvl3pPr marL="914400" indent="0">
              <a:buNone/>
              <a:defRPr>
                <a:solidFill>
                  <a:srgbClr val="00458A"/>
                </a:solidFill>
              </a:defRPr>
            </a:lvl3pPr>
            <a:lvl4pPr marL="1371600" indent="0">
              <a:buNone/>
              <a:defRPr>
                <a:solidFill>
                  <a:srgbClr val="00458A"/>
                </a:solidFill>
              </a:defRPr>
            </a:lvl4pPr>
            <a:lvl5pPr marL="1828800" indent="0">
              <a:buNone/>
              <a:defRPr>
                <a:solidFill>
                  <a:srgbClr val="00458A"/>
                </a:solidFill>
              </a:defRPr>
            </a:lvl5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sv-SE" dirty="0"/>
              <a:t>Rubrik</a:t>
            </a:r>
          </a:p>
        </p:txBody>
      </p:sp>
    </p:spTree>
    <p:extLst>
      <p:ext uri="{BB962C8B-B14F-4D97-AF65-F5344CB8AC3E}">
        <p14:creationId xmlns:p14="http://schemas.microsoft.com/office/powerpoint/2010/main" val="8059237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29" y="1196752"/>
            <a:ext cx="8397735" cy="4752528"/>
          </a:xfrm>
        </p:spPr>
        <p:txBody>
          <a:bodyPr lIns="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60040" y="6308725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38926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contenu 13"/>
          <p:cNvSpPr>
            <a:spLocks noGrp="1"/>
          </p:cNvSpPr>
          <p:nvPr>
            <p:ph sz="quarter" idx="13" hasCustomPrompt="1"/>
            <p:custDataLst>
              <p:tags r:id="rId3"/>
            </p:custDataLst>
          </p:nvPr>
        </p:nvSpPr>
        <p:spPr>
          <a:xfrm>
            <a:off x="361106" y="548680"/>
            <a:ext cx="8387358" cy="288032"/>
          </a:xfrm>
        </p:spPr>
        <p:txBody>
          <a:bodyPr lIns="0">
            <a:noAutofit/>
          </a:bodyPr>
          <a:lstStyle>
            <a:lvl1pPr>
              <a:defRPr sz="1600" b="1" cap="all" baseline="0">
                <a:solidFill>
                  <a:srgbClr val="8996A0"/>
                </a:solidFill>
              </a:defRPr>
            </a:lvl1pPr>
          </a:lstStyle>
          <a:p>
            <a:pPr lvl="0"/>
            <a:r>
              <a:rPr lang="en-CA" noProof="0"/>
              <a:t>Click to edit SUB-TITLE</a:t>
            </a:r>
            <a:endParaRPr lang="en-CA" noProof="0" dirty="0"/>
          </a:p>
        </p:txBody>
      </p:sp>
      <p:sp>
        <p:nvSpPr>
          <p:cNvPr id="10" name="Titr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8140" y="188640"/>
            <a:ext cx="8390324" cy="432048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2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29" y="1196752"/>
            <a:ext cx="8397735" cy="4752528"/>
          </a:xfrm>
        </p:spPr>
        <p:txBody>
          <a:bodyPr lIns="0" rIns="72000"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lnSpc>
                <a:spcPts val="1600"/>
              </a:lnSpc>
              <a:buClr>
                <a:srgbClr val="8996A0"/>
              </a:buClr>
              <a:defRPr sz="1600"/>
            </a:lvl5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309321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-36512" y="0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prstClr val="white"/>
              </a:solidFill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42"/>
          <a:stretch/>
        </p:blipFill>
        <p:spPr>
          <a:xfrm>
            <a:off x="5220072" y="130145"/>
            <a:ext cx="3923929" cy="5845581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580112" y="836712"/>
            <a:ext cx="3168352" cy="2376264"/>
          </a:xfr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5" name="Sous-titre 2"/>
          <p:cNvSpPr>
            <a:spLocks noGrp="1"/>
          </p:cNvSpPr>
          <p:nvPr>
            <p:ph type="subTitle" idx="1"/>
          </p:nvPr>
        </p:nvSpPr>
        <p:spPr>
          <a:xfrm>
            <a:off x="5580112" y="3356992"/>
            <a:ext cx="3168352" cy="2281808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CA" dirty="0"/>
          </a:p>
        </p:txBody>
      </p:sp>
      <p:pic>
        <p:nvPicPr>
          <p:cNvPr id="16" name="Image 15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6512" y="0"/>
            <a:ext cx="50565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9387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 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prstClr val="white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42"/>
          <a:stretch/>
        </p:blipFill>
        <p:spPr>
          <a:xfrm>
            <a:off x="5220072" y="130145"/>
            <a:ext cx="3923929" cy="5845581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5580112" y="836712"/>
            <a:ext cx="3168352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2000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63" y="3357563"/>
            <a:ext cx="3168650" cy="22320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4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07605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CA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 rot="16200000">
            <a:off x="7702189" y="3318829"/>
            <a:ext cx="2566408" cy="2462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defTabSz="1300163" eaLnBrk="0" hangingPunct="0">
              <a:defRPr/>
            </a:pPr>
            <a:r>
              <a:rPr lang="en-CA" sz="800" dirty="0">
                <a:solidFill>
                  <a:srgbClr val="A69F88"/>
                </a:solidFill>
              </a:rPr>
              <a:t>PRIVATE AND CONFIDENTIAL</a:t>
            </a:r>
          </a:p>
          <a:p>
            <a:pPr defTabSz="1300163" eaLnBrk="0" hangingPunct="0">
              <a:defRPr/>
            </a:pPr>
            <a:r>
              <a:rPr lang="en-CA" sz="800" dirty="0">
                <a:solidFill>
                  <a:srgbClr val="A69F88"/>
                </a:solidFill>
              </a:rPr>
              <a:t>© Bombardier Inc. or its subsidiar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58215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16" imgW="500" imgH="500" progId="">
                  <p:embed/>
                </p:oleObj>
              </mc:Choice>
              <mc:Fallback>
                <p:oleObj name="think-cell Slide" r:id="rId16" imgW="500" imgH="500" progId="">
                  <p:embed/>
                  <p:pic>
                    <p:nvPicPr>
                      <p:cNvPr id="23" name="Object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Espace réservé du 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50729" y="188640"/>
            <a:ext cx="8397735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115617" y="1196752"/>
            <a:ext cx="7416823" cy="576064"/>
          </a:xfrm>
          <a:solidFill>
            <a:srgbClr val="DCE5E4"/>
          </a:solidFill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115616" y="191683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1115616" y="263691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1115616" y="335699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14" hasCustomPrompt="1"/>
            <p:custDataLst>
              <p:tags r:id="rId8"/>
            </p:custDataLst>
          </p:nvPr>
        </p:nvSpPr>
        <p:spPr>
          <a:xfrm>
            <a:off x="1115616" y="407707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 hasCustomPrompt="1"/>
            <p:custDataLst>
              <p:tags r:id="rId9"/>
            </p:custDataLst>
          </p:nvPr>
        </p:nvSpPr>
        <p:spPr>
          <a:xfrm>
            <a:off x="496100" y="1196752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 1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496100" y="1916848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 2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496100" y="2636944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 3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8" hasCustomPrompt="1"/>
            <p:custDataLst>
              <p:tags r:id="rId12"/>
            </p:custDataLst>
          </p:nvPr>
        </p:nvSpPr>
        <p:spPr>
          <a:xfrm>
            <a:off x="496100" y="3357040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 4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9" hasCustomPrompt="1"/>
            <p:custDataLst>
              <p:tags r:id="rId13"/>
            </p:custDataLst>
          </p:nvPr>
        </p:nvSpPr>
        <p:spPr>
          <a:xfrm>
            <a:off x="496100" y="4077136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 5</a:t>
            </a:r>
          </a:p>
        </p:txBody>
      </p:sp>
      <p:sp>
        <p:nvSpPr>
          <p:cNvPr id="20" name="Espace réservé du numéro de diapositive 5"/>
          <p:cNvSpPr>
            <a:spLocks noGrp="1"/>
          </p:cNvSpPr>
          <p:nvPr>
            <p:ph type="sldNum" sz="quarter" idx="20"/>
            <p:custDataLst>
              <p:tags r:id="rId14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111485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pour une image  4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>
            <a:off x="395536" y="1679600"/>
            <a:ext cx="4824536" cy="3672408"/>
          </a:xfrm>
          <a:solidFill>
            <a:schemeClr val="bg1"/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9" name="Titr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5436096" y="1675408"/>
            <a:ext cx="3168352" cy="3672408"/>
          </a:xfrm>
        </p:spPr>
        <p:txBody>
          <a:bodyPr lIns="72000" rIns="72000" anchor="ctr" anchorCtr="0">
            <a:noAutofit/>
          </a:bodyPr>
          <a:lstStyle>
            <a:lvl1pPr algn="l">
              <a:lnSpc>
                <a:spcPct val="100000"/>
              </a:lnSpc>
              <a:defRPr sz="2000" cap="none" baseline="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00"/>
          <a:stretch/>
        </p:blipFill>
        <p:spPr>
          <a:xfrm>
            <a:off x="5328592" y="1412776"/>
            <a:ext cx="3815408" cy="436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987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29" y="1196752"/>
            <a:ext cx="8397735" cy="4752528"/>
          </a:xfrm>
        </p:spPr>
        <p:txBody>
          <a:bodyPr lIns="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31340310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44383" y="1916832"/>
            <a:ext cx="4132613" cy="4032448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644007" y="1916832"/>
            <a:ext cx="4048731" cy="4032448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44363" y="1260000"/>
            <a:ext cx="4132633" cy="639762"/>
          </a:xfrm>
        </p:spPr>
        <p:txBody>
          <a:bodyPr lIns="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/>
              <a:t>Click to edit text</a:t>
            </a:r>
            <a:endParaRPr lang="en-CA" dirty="0"/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260000"/>
            <a:ext cx="4047713" cy="639762"/>
          </a:xfrm>
        </p:spPr>
        <p:txBody>
          <a:bodyPr lIns="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/>
              <a:t>Click to edit text</a:t>
            </a:r>
            <a:endParaRPr lang="en-CA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942236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059832" y="2758430"/>
            <a:ext cx="3528391" cy="1390650"/>
          </a:xfrm>
          <a:prstGeom prst="rect">
            <a:avLst/>
          </a:prstGeom>
          <a:solidFill>
            <a:schemeClr val="bg1">
              <a:alpha val="47842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CA" sz="7200" b="1" dirty="0">
                <a:solidFill>
                  <a:srgbClr val="808D97"/>
                </a:solidFill>
              </a:rPr>
              <a:t>Q&amp;A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Rectangle à coins arrondis 7"/>
          <p:cNvSpPr/>
          <p:nvPr userDrawn="1">
            <p:custDataLst>
              <p:tags r:id="rId5"/>
            </p:custDataLst>
          </p:nvPr>
        </p:nvSpPr>
        <p:spPr>
          <a:xfrm>
            <a:off x="1475656" y="2780928"/>
            <a:ext cx="1512168" cy="1368152"/>
          </a:xfrm>
          <a:prstGeom prst="roundRect">
            <a:avLst/>
          </a:prstGeom>
          <a:solidFill>
            <a:srgbClr val="CC0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73050" indent="-273050" algn="ctr" defTabSz="1300163">
              <a:spcBef>
                <a:spcPct val="50000"/>
              </a:spcBef>
              <a:buClr>
                <a:srgbClr val="174A7C"/>
              </a:buClr>
            </a:pPr>
            <a:r>
              <a:rPr lang="en-CA" sz="7500" b="1" dirty="0">
                <a:solidFill>
                  <a:prstClr val="white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8540179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Bildobjekt 9" descr="GS_logo_ne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000"/>
            <a:ext cx="1331976" cy="359664"/>
          </a:xfrm>
          <a:prstGeom prst="rect">
            <a:avLst/>
          </a:prstGeom>
        </p:spPr>
      </p:pic>
      <p:sp>
        <p:nvSpPr>
          <p:cNvPr id="12" name="textruta 11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>
                <a:solidFill>
                  <a:schemeClr val="bg1"/>
                </a:solidFill>
              </a:rPr>
              <a:t>Vi sätter Göteborg i rörelse</a:t>
            </a:r>
          </a:p>
        </p:txBody>
      </p:sp>
      <p:sp>
        <p:nvSpPr>
          <p:cNvPr id="7" name="Rubrik 1"/>
          <p:cNvSpPr>
            <a:spLocks noGrp="1"/>
          </p:cNvSpPr>
          <p:nvPr>
            <p:ph type="ctrTitle" hasCustomPrompt="1"/>
          </p:nvPr>
        </p:nvSpPr>
        <p:spPr>
          <a:xfrm>
            <a:off x="288000" y="360000"/>
            <a:ext cx="6400800" cy="1172467"/>
          </a:xfrm>
        </p:spPr>
        <p:txBody>
          <a:bodyPr lIns="0" tIns="0" rIns="0" bIns="0" anchor="t" anchorCtr="0">
            <a:noAutofit/>
          </a:bodyPr>
          <a:lstStyle>
            <a:lvl1pPr algn="l">
              <a:defRPr sz="7000" spc="-12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9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288000" y="1532467"/>
            <a:ext cx="6400800" cy="1752600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None/>
              <a:defRPr sz="27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651338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732240" y="6165304"/>
            <a:ext cx="2088232" cy="648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260648"/>
            <a:ext cx="9144000" cy="59046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>
              <a:solidFill>
                <a:prstClr val="white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3392"/>
            <a:ext cx="9144000" cy="2871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61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4">
    <p:bg>
      <p:bgPr>
        <a:solidFill>
          <a:srgbClr val="899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702556" y="908718"/>
            <a:ext cx="3261955" cy="2448274"/>
          </a:xfrm>
        </p:spPr>
        <p:txBody>
          <a:bodyPr anchor="ctr" anchorCtr="0">
            <a:noAutofit/>
          </a:bodyPr>
          <a:lstStyle>
            <a:lvl1pPr>
              <a:defRPr sz="2400" cap="all" baseline="0">
                <a:solidFill>
                  <a:schemeClr val="bg1"/>
                </a:solidFill>
                <a:latin typeface="Arial Black" pitchFamily="34" charset="0"/>
              </a:defRPr>
            </a:lvl1pPr>
          </a:lstStyle>
          <a:p>
            <a:r>
              <a:rPr lang="en-CA" noProof="0"/>
              <a:t>Modifiez le style du 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73"/>
            <a:ext cx="2133600" cy="365125"/>
          </a:xfrm>
          <a:prstGeom prst="rect">
            <a:avLst/>
          </a:prstGeom>
        </p:spPr>
        <p:txBody>
          <a:bodyPr lIns="65306" tIns="32653" rIns="65306" bIns="32653"/>
          <a:lstStyle/>
          <a:p>
            <a:endParaRPr lang="en-CA">
              <a:solidFill>
                <a:prstClr val="black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2000" y="5916960"/>
            <a:ext cx="2393314" cy="752400"/>
          </a:xfrm>
          <a:prstGeom prst="rect">
            <a:avLst/>
          </a:prstGeom>
        </p:spPr>
      </p:pic>
      <p:sp>
        <p:nvSpPr>
          <p:cNvPr id="13" name="Espace réservé du contenu 12"/>
          <p:cNvSpPr>
            <a:spLocks noGrp="1"/>
          </p:cNvSpPr>
          <p:nvPr>
            <p:ph sz="quarter" idx="13"/>
          </p:nvPr>
        </p:nvSpPr>
        <p:spPr>
          <a:xfrm>
            <a:off x="6372202" y="4149080"/>
            <a:ext cx="2232247" cy="1656184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000" cap="all" baseline="0">
                <a:solidFill>
                  <a:schemeClr val="bg1"/>
                </a:solidFill>
              </a:defRPr>
            </a:lvl1pPr>
            <a:lvl2pPr>
              <a:defRPr sz="1000" cap="all" baseline="0">
                <a:solidFill>
                  <a:schemeClr val="bg1"/>
                </a:solidFill>
              </a:defRPr>
            </a:lvl2pPr>
            <a:lvl3pPr>
              <a:defRPr sz="1000" cap="all" baseline="0">
                <a:solidFill>
                  <a:schemeClr val="bg1"/>
                </a:solidFill>
              </a:defRPr>
            </a:lvl3pPr>
            <a:lvl4pPr>
              <a:defRPr sz="1000" cap="all" baseline="0">
                <a:solidFill>
                  <a:schemeClr val="bg1"/>
                </a:solidFill>
              </a:defRPr>
            </a:lvl4pPr>
            <a:lvl5pPr>
              <a:defRPr sz="10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/>
              <a:t>Modifiez les styles du texte du masque</a:t>
            </a:r>
          </a:p>
        </p:txBody>
      </p:sp>
      <p:pic>
        <p:nvPicPr>
          <p:cNvPr id="9" name="Grafik 8" descr="Bombardier Titelbild Mobility.png"/>
          <p:cNvPicPr>
            <a:picLocks noChangeAspect="1"/>
          </p:cNvPicPr>
          <p:nvPr userDrawn="1"/>
        </p:nvPicPr>
        <p:blipFill>
          <a:blip r:embed="rId3" cstate="print"/>
          <a:srcRect l="431" t="775" b="762"/>
          <a:stretch>
            <a:fillRect/>
          </a:stretch>
        </p:blipFill>
        <p:spPr>
          <a:xfrm>
            <a:off x="3" y="0"/>
            <a:ext cx="5113615" cy="6858000"/>
          </a:xfrm>
          <a:prstGeom prst="rect">
            <a:avLst/>
          </a:prstGeom>
        </p:spPr>
      </p:pic>
      <p:pic>
        <p:nvPicPr>
          <p:cNvPr id="10" name="Grafik 9" descr="BT New CI Textbox 1.png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8996A0"/>
              </a:clrFrom>
              <a:clrTo>
                <a:srgbClr val="8996A0">
                  <a:alpha val="0"/>
                </a:srgbClr>
              </a:clrTo>
            </a:clrChange>
          </a:blip>
          <a:srcRect r="13197"/>
          <a:stretch>
            <a:fillRect/>
          </a:stretch>
        </p:blipFill>
        <p:spPr>
          <a:xfrm>
            <a:off x="5397934" y="548681"/>
            <a:ext cx="3746066" cy="316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1308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sz="quarter" idx="10"/>
          </p:nvPr>
        </p:nvSpPr>
        <p:spPr>
          <a:xfrm>
            <a:off x="0" y="115888"/>
            <a:ext cx="9144000" cy="6742112"/>
          </a:xfrm>
        </p:spPr>
        <p:txBody>
          <a:bodyPr/>
          <a:lstStyle/>
          <a:p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1108622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31" y="1196752"/>
            <a:ext cx="8397735" cy="4752528"/>
          </a:xfrm>
        </p:spPr>
        <p:txBody>
          <a:bodyPr lIns="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 marL="177800" indent="-177800">
              <a:lnSpc>
                <a:spcPct val="100000"/>
              </a:lnSpc>
              <a:buClr>
                <a:srgbClr val="808D97"/>
              </a:buClr>
              <a:defRPr/>
            </a:lvl2pPr>
            <a:lvl3pPr marL="361950" indent="-184150">
              <a:lnSpc>
                <a:spcPct val="100000"/>
              </a:lnSpc>
              <a:buClr>
                <a:srgbClr val="8996A0"/>
              </a:buClr>
              <a:defRPr sz="1200"/>
            </a:lvl3pPr>
            <a:lvl4pPr marL="538163" indent="-176213"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7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808D97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360040" y="6309320"/>
            <a:ext cx="358417" cy="3600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90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fld id="{89A93721-A7E3-4E3B-BEAA-F100E0D8E961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7328051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8786280" y="1976848"/>
            <a:ext cx="349683" cy="301316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8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 Box 23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8392298" y="3215815"/>
            <a:ext cx="1336904" cy="12798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defTabSz="85098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416" dirty="0">
                <a:solidFill>
                  <a:srgbClr val="A69F88"/>
                </a:solidFill>
                <a:cs typeface="Arial" charset="0"/>
              </a:rPr>
              <a:t>PRIVATE AND CONFIDENTIAL</a:t>
            </a:r>
          </a:p>
          <a:p>
            <a:pPr algn="ctr" defTabSz="85098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416" dirty="0">
                <a:solidFill>
                  <a:srgbClr val="A69F88"/>
                </a:solidFill>
                <a:cs typeface="Arial" charset="0"/>
              </a:rPr>
              <a:t>© Bombardier Inc. or its subsidiar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53534259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634163" y="6715126"/>
            <a:ext cx="2133600" cy="1254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>
              <a:solidFill>
                <a:prstClr val="black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5CD6E20-22F2-4CA5-AC23-26366422E47B}" type="slidenum">
              <a:rPr lang="en-CA"/>
              <a:pPr/>
              <a:t>‹#›</a:t>
            </a:fld>
            <a:endParaRPr lang="en-CA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898527" y="6323014"/>
            <a:ext cx="5243513" cy="2524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3246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6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29" y="1196752"/>
            <a:ext cx="8397735" cy="4752528"/>
          </a:xfrm>
        </p:spPr>
        <p:txBody>
          <a:bodyPr lIns="0" rIns="7200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/>
            </a:lvl1pPr>
            <a:lvl2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2pPr>
            <a:lvl3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buClr>
                <a:srgbClr val="8996A0"/>
              </a:buClr>
              <a:defRPr sz="1600"/>
            </a:lvl4pPr>
            <a:lvl5pPr>
              <a:lnSpc>
                <a:spcPts val="1600"/>
              </a:lnSpc>
              <a:spcBef>
                <a:spcPts val="600"/>
              </a:spcBef>
              <a:buClr>
                <a:srgbClr val="8996A0"/>
              </a:buClr>
              <a:defRPr sz="1600"/>
            </a:lvl5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60040" y="6308725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263451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contenu 13"/>
          <p:cNvSpPr>
            <a:spLocks noGrp="1"/>
          </p:cNvSpPr>
          <p:nvPr>
            <p:ph sz="quarter" idx="13" hasCustomPrompt="1"/>
            <p:custDataLst>
              <p:tags r:id="rId3"/>
            </p:custDataLst>
          </p:nvPr>
        </p:nvSpPr>
        <p:spPr>
          <a:xfrm>
            <a:off x="361106" y="548680"/>
            <a:ext cx="8387358" cy="288032"/>
          </a:xfrm>
        </p:spPr>
        <p:txBody>
          <a:bodyPr lIns="0">
            <a:noAutofit/>
          </a:bodyPr>
          <a:lstStyle>
            <a:lvl1pPr>
              <a:defRPr sz="1600" b="1" cap="all" baseline="0">
                <a:solidFill>
                  <a:srgbClr val="8996A0"/>
                </a:solidFill>
              </a:defRPr>
            </a:lvl1pPr>
          </a:lstStyle>
          <a:p>
            <a:pPr lvl="0"/>
            <a:r>
              <a:rPr lang="en-CA" noProof="0"/>
              <a:t>Click to edit SUB-TITLE</a:t>
            </a:r>
            <a:endParaRPr lang="en-CA" noProof="0" dirty="0"/>
          </a:p>
        </p:txBody>
      </p:sp>
      <p:sp>
        <p:nvSpPr>
          <p:cNvPr id="10" name="Titr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58140" y="188640"/>
            <a:ext cx="8390324" cy="432048"/>
          </a:xfrm>
        </p:spPr>
        <p:txBody>
          <a:bodyPr/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20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29" y="1196752"/>
            <a:ext cx="8397735" cy="4752528"/>
          </a:xfrm>
        </p:spPr>
        <p:txBody>
          <a:bodyPr lIns="0" rIns="72000"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lnSpc>
                <a:spcPts val="1600"/>
              </a:lnSpc>
              <a:buClr>
                <a:srgbClr val="8996A0"/>
              </a:buClr>
              <a:defRPr sz="1600"/>
            </a:lvl5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140922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-36512" y="0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prstClr val="white"/>
              </a:solidFill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42"/>
          <a:stretch/>
        </p:blipFill>
        <p:spPr>
          <a:xfrm>
            <a:off x="5220072" y="130145"/>
            <a:ext cx="3923929" cy="5845581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5580112" y="836712"/>
            <a:ext cx="3168352" cy="2376264"/>
          </a:xfrm>
        </p:spPr>
        <p:txBody>
          <a:bodyPr anchor="ctr" anchorCtr="0"/>
          <a:lstStyle/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15" name="Sous-titre 2"/>
          <p:cNvSpPr>
            <a:spLocks noGrp="1"/>
          </p:cNvSpPr>
          <p:nvPr>
            <p:ph type="subTitle" idx="1"/>
          </p:nvPr>
        </p:nvSpPr>
        <p:spPr>
          <a:xfrm>
            <a:off x="5580112" y="3356992"/>
            <a:ext cx="3168352" cy="2281808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CA" dirty="0"/>
          </a:p>
        </p:txBody>
      </p:sp>
      <p:pic>
        <p:nvPicPr>
          <p:cNvPr id="16" name="Image 15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6512" y="0"/>
            <a:ext cx="50565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920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up 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9144000" cy="6250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prstClr val="white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42"/>
          <a:stretch/>
        </p:blipFill>
        <p:spPr>
          <a:xfrm>
            <a:off x="5220072" y="130145"/>
            <a:ext cx="3923929" cy="5845581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 userDrawn="1">
            <p:ph type="ctrTitle" hasCustomPrompt="1"/>
            <p:custDataLst>
              <p:tags r:id="rId5"/>
            </p:custDataLst>
          </p:nvPr>
        </p:nvSpPr>
        <p:spPr>
          <a:xfrm>
            <a:off x="5580112" y="836712"/>
            <a:ext cx="3168352" cy="2376264"/>
          </a:xfrm>
        </p:spPr>
        <p:txBody>
          <a:bodyPr anchor="ctr" anchorCtr="0">
            <a:normAutofit/>
          </a:bodyPr>
          <a:lstStyle>
            <a:lvl1pPr algn="l">
              <a:lnSpc>
                <a:spcPct val="100000"/>
              </a:lnSpc>
              <a:defRPr sz="2000" cap="none" baseline="0">
                <a:solidFill>
                  <a:schemeClr val="accent1"/>
                </a:solidFill>
                <a:latin typeface="Arial Black" pitchFamily="34" charset="0"/>
              </a:defRPr>
            </a:lvl1pPr>
          </a:lstStyle>
          <a:p>
            <a:r>
              <a:rPr lang="en-CA" noProof="0"/>
              <a:t>Click to edit tit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63" y="3357563"/>
            <a:ext cx="3168650" cy="2232025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40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 noProof="0"/>
              <a:t>Click to add presenter and dat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076056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fr-CA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 rot="16200000">
            <a:off x="7702189" y="3318829"/>
            <a:ext cx="2566408" cy="2462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defTabSz="1300163" eaLnBrk="0" hangingPunct="0">
              <a:defRPr/>
            </a:pPr>
            <a:r>
              <a:rPr lang="en-CA" sz="800" dirty="0">
                <a:solidFill>
                  <a:srgbClr val="A69F88"/>
                </a:solidFill>
              </a:rPr>
              <a:t>PRIVATE AND CONFIDENTIAL</a:t>
            </a:r>
          </a:p>
          <a:p>
            <a:pPr defTabSz="1300163" eaLnBrk="0" hangingPunct="0">
              <a:defRPr/>
            </a:pPr>
            <a:r>
              <a:rPr lang="en-CA" sz="800" dirty="0">
                <a:solidFill>
                  <a:srgbClr val="A69F88"/>
                </a:solidFill>
              </a:rPr>
              <a:t>© Bombardier Inc. or its subsidiar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5064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Bildobjekt 9" descr="GS_logo_neg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000"/>
            <a:ext cx="1331976" cy="359664"/>
          </a:xfrm>
          <a:prstGeom prst="rect">
            <a:avLst/>
          </a:prstGeom>
        </p:spPr>
      </p:pic>
      <p:sp>
        <p:nvSpPr>
          <p:cNvPr id="12" name="textruta 11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>
                <a:solidFill>
                  <a:schemeClr val="bg1"/>
                </a:solidFill>
              </a:rPr>
              <a:t>Vi sätter Göteborg i rörelse</a:t>
            </a:r>
          </a:p>
        </p:txBody>
      </p:sp>
      <p:sp>
        <p:nvSpPr>
          <p:cNvPr id="7" name="Rubrik 1"/>
          <p:cNvSpPr>
            <a:spLocks noGrp="1"/>
          </p:cNvSpPr>
          <p:nvPr>
            <p:ph type="ctrTitle" hasCustomPrompt="1"/>
          </p:nvPr>
        </p:nvSpPr>
        <p:spPr>
          <a:xfrm>
            <a:off x="288000" y="360000"/>
            <a:ext cx="6400800" cy="1172467"/>
          </a:xfrm>
        </p:spPr>
        <p:txBody>
          <a:bodyPr lIns="0" tIns="0" rIns="0" bIns="0" anchor="t" anchorCtr="0">
            <a:noAutofit/>
          </a:bodyPr>
          <a:lstStyle>
            <a:lvl1pPr algn="l">
              <a:defRPr sz="7000" spc="-12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9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288000" y="1532467"/>
            <a:ext cx="6400800" cy="1752600"/>
          </a:xfrm>
        </p:spPr>
        <p:txBody>
          <a:bodyPr>
            <a:normAutofit/>
          </a:bodyPr>
          <a:lstStyle>
            <a:lvl1pPr marL="0" indent="0" algn="l">
              <a:lnSpc>
                <a:spcPct val="80000"/>
              </a:lnSpc>
              <a:buNone/>
              <a:defRPr sz="27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1853161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6" name="think-cell Slide" r:id="rId16" imgW="500" imgH="500" progId="">
                  <p:embed/>
                </p:oleObj>
              </mc:Choice>
              <mc:Fallback>
                <p:oleObj name="think-cell Slide" r:id="rId16" imgW="500" imgH="500" progId="">
                  <p:embed/>
                  <p:pic>
                    <p:nvPicPr>
                      <p:cNvPr id="23" name="Object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Espace réservé du 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50729" y="188640"/>
            <a:ext cx="8397735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>
              <a:defRPr/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115617" y="1196752"/>
            <a:ext cx="7416823" cy="576064"/>
          </a:xfrm>
          <a:solidFill>
            <a:srgbClr val="DCE5E4"/>
          </a:solidFill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115616" y="191683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1115616" y="263691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28" name="Text Placeholder 16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1115616" y="335699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29" name="Text Placeholder 16"/>
          <p:cNvSpPr>
            <a:spLocks noGrp="1"/>
          </p:cNvSpPr>
          <p:nvPr>
            <p:ph type="body" sz="quarter" idx="14" hasCustomPrompt="1"/>
            <p:custDataLst>
              <p:tags r:id="rId8"/>
            </p:custDataLst>
          </p:nvPr>
        </p:nvSpPr>
        <p:spPr>
          <a:xfrm>
            <a:off x="1115616" y="4077072"/>
            <a:ext cx="7416823" cy="576064"/>
          </a:xfrm>
        </p:spPr>
        <p:txBody>
          <a:bodyPr anchor="ctr">
            <a:normAutofit/>
          </a:bodyPr>
          <a:lstStyle>
            <a:lvl1pPr>
              <a:defRPr sz="1600" b="1" cap="all" baseline="0">
                <a:solidFill>
                  <a:srgbClr val="808D97"/>
                </a:solidFill>
              </a:defRPr>
            </a:lvl1pPr>
          </a:lstStyle>
          <a:p>
            <a:pPr lvl="0"/>
            <a:r>
              <a:rPr lang="en-CA"/>
              <a:t>CLICK TO EDIT TEXT</a:t>
            </a:r>
            <a:endParaRPr lang="en-CA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 hasCustomPrompt="1"/>
            <p:custDataLst>
              <p:tags r:id="rId9"/>
            </p:custDataLst>
          </p:nvPr>
        </p:nvSpPr>
        <p:spPr>
          <a:xfrm>
            <a:off x="496100" y="1196752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 1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6" hasCustomPrompt="1"/>
            <p:custDataLst>
              <p:tags r:id="rId10"/>
            </p:custDataLst>
          </p:nvPr>
        </p:nvSpPr>
        <p:spPr>
          <a:xfrm>
            <a:off x="496100" y="1916848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 2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496100" y="2636944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 3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8" hasCustomPrompt="1"/>
            <p:custDataLst>
              <p:tags r:id="rId12"/>
            </p:custDataLst>
          </p:nvPr>
        </p:nvSpPr>
        <p:spPr>
          <a:xfrm>
            <a:off x="496100" y="3357040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 4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9" hasCustomPrompt="1"/>
            <p:custDataLst>
              <p:tags r:id="rId13"/>
            </p:custDataLst>
          </p:nvPr>
        </p:nvSpPr>
        <p:spPr>
          <a:xfrm>
            <a:off x="496100" y="4077136"/>
            <a:ext cx="504000" cy="57600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600" b="1" kern="1200" noProof="0" dirty="0" smtClean="0">
                <a:solidFill>
                  <a:srgbClr val="808D97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CA" dirty="0"/>
              <a:t> 5</a:t>
            </a:r>
          </a:p>
        </p:txBody>
      </p:sp>
      <p:sp>
        <p:nvSpPr>
          <p:cNvPr id="20" name="Espace réservé du numéro de diapositive 5"/>
          <p:cNvSpPr>
            <a:spLocks noGrp="1"/>
          </p:cNvSpPr>
          <p:nvPr>
            <p:ph type="sldNum" sz="quarter" idx="20"/>
            <p:custDataLst>
              <p:tags r:id="rId14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617605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ce réservé pour une image  4"/>
          <p:cNvSpPr>
            <a:spLocks noGrp="1"/>
          </p:cNvSpPr>
          <p:nvPr>
            <p:ph type="pic" sz="quarter" idx="10"/>
            <p:custDataLst>
              <p:tags r:id="rId3"/>
            </p:custDataLst>
          </p:nvPr>
        </p:nvSpPr>
        <p:spPr>
          <a:xfrm>
            <a:off x="395536" y="1679600"/>
            <a:ext cx="4824536" cy="3672408"/>
          </a:xfrm>
          <a:solidFill>
            <a:schemeClr val="bg1"/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noProof="0"/>
              <a:t>Click icon to add picture</a:t>
            </a:r>
            <a:endParaRPr lang="en-CA" noProof="0" dirty="0"/>
          </a:p>
        </p:txBody>
      </p:sp>
      <p:sp>
        <p:nvSpPr>
          <p:cNvPr id="9" name="Titr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5436096" y="1675408"/>
            <a:ext cx="3168352" cy="3672408"/>
          </a:xfrm>
        </p:spPr>
        <p:txBody>
          <a:bodyPr lIns="72000" rIns="72000" anchor="ctr" anchorCtr="0">
            <a:noAutofit/>
          </a:bodyPr>
          <a:lstStyle>
            <a:lvl1pPr algn="l">
              <a:lnSpc>
                <a:spcPct val="100000"/>
              </a:lnSpc>
              <a:defRPr sz="2000" cap="none" baseline="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r>
              <a:rPr lang="en-CA" noProof="0" dirty="0"/>
              <a:t>Click to edit title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300"/>
          <a:stretch/>
        </p:blipFill>
        <p:spPr>
          <a:xfrm>
            <a:off x="5328592" y="1412776"/>
            <a:ext cx="3815408" cy="436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8953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29" y="1196752"/>
            <a:ext cx="8397735" cy="4752528"/>
          </a:xfrm>
        </p:spPr>
        <p:txBody>
          <a:bodyPr lIns="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buClr>
                <a:srgbClr val="808D97"/>
              </a:buClr>
              <a:defRPr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</p:spTree>
    <p:extLst>
      <p:ext uri="{BB962C8B-B14F-4D97-AF65-F5344CB8AC3E}">
        <p14:creationId xmlns:p14="http://schemas.microsoft.com/office/powerpoint/2010/main" val="14855423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344383" y="1916832"/>
            <a:ext cx="4132613" cy="4032448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4644007" y="1916832"/>
            <a:ext cx="4048731" cy="4032448"/>
          </a:xfrm>
          <a:ln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buClr>
                <a:srgbClr val="8996A0"/>
              </a:buClr>
              <a:defRPr sz="1400"/>
            </a:lvl2pPr>
            <a:lvl3pPr>
              <a:lnSpc>
                <a:spcPct val="100000"/>
              </a:lnSpc>
              <a:buClr>
                <a:srgbClr val="8996A0"/>
              </a:buClr>
              <a:defRPr sz="1200"/>
            </a:lvl3pPr>
            <a:lvl4pPr>
              <a:lnSpc>
                <a:spcPct val="100000"/>
              </a:lnSpc>
              <a:buClr>
                <a:srgbClr val="8996A0"/>
              </a:buClr>
              <a:defRPr sz="1200"/>
            </a:lvl4pPr>
            <a:lvl5pPr>
              <a:buClr>
                <a:srgbClr val="8996A0"/>
              </a:buCl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/>
              <a:t>Click to edit text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  <a:endParaRPr lang="en-CA" dirty="0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4" hasCustomPrompt="1"/>
          </p:nvPr>
        </p:nvSpPr>
        <p:spPr>
          <a:xfrm>
            <a:off x="344363" y="1260000"/>
            <a:ext cx="4132633" cy="639762"/>
          </a:xfrm>
        </p:spPr>
        <p:txBody>
          <a:bodyPr lIns="0" rIns="72000" anchor="ctr" anchorCtr="0">
            <a:normAutofit/>
          </a:bodyPr>
          <a:lstStyle>
            <a:lvl1pPr marL="0" indent="0"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/>
              <a:t>Click to edit text</a:t>
            </a:r>
            <a:endParaRPr lang="en-CA" dirty="0"/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260000"/>
            <a:ext cx="4047713" cy="639762"/>
          </a:xfrm>
        </p:spPr>
        <p:txBody>
          <a:bodyPr lIns="0" rIns="72000" anchor="ctr" anchorCtr="0">
            <a:normAutofit/>
          </a:bodyPr>
          <a:lstStyle>
            <a:lvl1pPr marL="0" indent="0">
              <a:lnSpc>
                <a:spcPct val="100000"/>
              </a:lnSpc>
              <a:buNone/>
              <a:defRPr lang="fr-FR" sz="1600" b="1" kern="1200" cap="all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ts val="16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CA"/>
              <a:t>Click to edit text</a:t>
            </a:r>
            <a:endParaRPr lang="en-CA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5"/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6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ts val="1600"/>
              </a:lnSpc>
              <a:spcBef>
                <a:spcPts val="0"/>
              </a:spcBef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/>
              <a:t>Click to add 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382616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3059832" y="2758430"/>
            <a:ext cx="3528391" cy="1390650"/>
          </a:xfrm>
          <a:prstGeom prst="rect">
            <a:avLst/>
          </a:prstGeom>
          <a:solidFill>
            <a:schemeClr val="bg1">
              <a:alpha val="47842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CA" sz="7200" b="1" dirty="0">
                <a:solidFill>
                  <a:srgbClr val="808D97"/>
                </a:solidFill>
              </a:rPr>
              <a:t>Q&amp;A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/>
          <a:lstStyle/>
          <a:p>
            <a:fld id="{CCEA77D5-0B01-41C0-8AB2-471B057BD053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Rectangle à coins arrondis 7"/>
          <p:cNvSpPr/>
          <p:nvPr userDrawn="1">
            <p:custDataLst>
              <p:tags r:id="rId5"/>
            </p:custDataLst>
          </p:nvPr>
        </p:nvSpPr>
        <p:spPr>
          <a:xfrm>
            <a:off x="1475656" y="2780928"/>
            <a:ext cx="1512168" cy="1368152"/>
          </a:xfrm>
          <a:prstGeom prst="roundRect">
            <a:avLst/>
          </a:prstGeom>
          <a:solidFill>
            <a:srgbClr val="CC00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273050" indent="-273050" algn="ctr" defTabSz="1300163">
              <a:spcBef>
                <a:spcPct val="50000"/>
              </a:spcBef>
              <a:buClr>
                <a:srgbClr val="174A7C"/>
              </a:buClr>
            </a:pPr>
            <a:r>
              <a:rPr lang="en-CA" sz="7500" b="1" dirty="0">
                <a:solidFill>
                  <a:prstClr val="white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7705494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732240" y="6165304"/>
            <a:ext cx="2088232" cy="648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260648"/>
            <a:ext cx="9144000" cy="59046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>
              <a:solidFill>
                <a:prstClr val="white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93392"/>
            <a:ext cx="9144000" cy="2871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003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4">
    <p:bg>
      <p:bgPr>
        <a:solidFill>
          <a:srgbClr val="899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702556" y="908718"/>
            <a:ext cx="3261955" cy="2448274"/>
          </a:xfrm>
        </p:spPr>
        <p:txBody>
          <a:bodyPr anchor="ctr" anchorCtr="0">
            <a:noAutofit/>
          </a:bodyPr>
          <a:lstStyle>
            <a:lvl1pPr>
              <a:defRPr sz="2400" cap="all" baseline="0">
                <a:solidFill>
                  <a:schemeClr val="bg1"/>
                </a:solidFill>
                <a:latin typeface="Arial Black" pitchFamily="34" charset="0"/>
              </a:defRPr>
            </a:lvl1pPr>
          </a:lstStyle>
          <a:p>
            <a:r>
              <a:rPr lang="en-CA" noProof="0"/>
              <a:t>Modifiez le style du 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73"/>
            <a:ext cx="2133600" cy="365125"/>
          </a:xfrm>
          <a:prstGeom prst="rect">
            <a:avLst/>
          </a:prstGeom>
        </p:spPr>
        <p:txBody>
          <a:bodyPr lIns="65306" tIns="32653" rIns="65306" bIns="32653"/>
          <a:lstStyle/>
          <a:p>
            <a:endParaRPr lang="en-CA">
              <a:solidFill>
                <a:prstClr val="black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2000" y="5916960"/>
            <a:ext cx="2393314" cy="752400"/>
          </a:xfrm>
          <a:prstGeom prst="rect">
            <a:avLst/>
          </a:prstGeom>
        </p:spPr>
      </p:pic>
      <p:sp>
        <p:nvSpPr>
          <p:cNvPr id="13" name="Espace réservé du contenu 12"/>
          <p:cNvSpPr>
            <a:spLocks noGrp="1"/>
          </p:cNvSpPr>
          <p:nvPr>
            <p:ph sz="quarter" idx="13"/>
          </p:nvPr>
        </p:nvSpPr>
        <p:spPr>
          <a:xfrm>
            <a:off x="6372202" y="4149080"/>
            <a:ext cx="2232247" cy="1656184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000" cap="all" baseline="0">
                <a:solidFill>
                  <a:schemeClr val="bg1"/>
                </a:solidFill>
              </a:defRPr>
            </a:lvl1pPr>
            <a:lvl2pPr>
              <a:defRPr sz="1000" cap="all" baseline="0">
                <a:solidFill>
                  <a:schemeClr val="bg1"/>
                </a:solidFill>
              </a:defRPr>
            </a:lvl2pPr>
            <a:lvl3pPr>
              <a:defRPr sz="1000" cap="all" baseline="0">
                <a:solidFill>
                  <a:schemeClr val="bg1"/>
                </a:solidFill>
              </a:defRPr>
            </a:lvl3pPr>
            <a:lvl4pPr>
              <a:defRPr sz="1000" cap="all" baseline="0">
                <a:solidFill>
                  <a:schemeClr val="bg1"/>
                </a:solidFill>
              </a:defRPr>
            </a:lvl4pPr>
            <a:lvl5pPr>
              <a:defRPr sz="10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/>
              <a:t>Modifiez les styles du texte du masque</a:t>
            </a:r>
          </a:p>
        </p:txBody>
      </p:sp>
      <p:pic>
        <p:nvPicPr>
          <p:cNvPr id="9" name="Grafik 8" descr="Bombardier Titelbild Mobility.png"/>
          <p:cNvPicPr>
            <a:picLocks noChangeAspect="1"/>
          </p:cNvPicPr>
          <p:nvPr userDrawn="1"/>
        </p:nvPicPr>
        <p:blipFill>
          <a:blip r:embed="rId3" cstate="print"/>
          <a:srcRect l="431" t="775" b="762"/>
          <a:stretch>
            <a:fillRect/>
          </a:stretch>
        </p:blipFill>
        <p:spPr>
          <a:xfrm>
            <a:off x="3" y="0"/>
            <a:ext cx="5113615" cy="6858000"/>
          </a:xfrm>
          <a:prstGeom prst="rect">
            <a:avLst/>
          </a:prstGeom>
        </p:spPr>
      </p:pic>
      <p:pic>
        <p:nvPicPr>
          <p:cNvPr id="10" name="Grafik 9" descr="BT New CI Textbox 1.png"/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8996A0"/>
              </a:clrFrom>
              <a:clrTo>
                <a:srgbClr val="8996A0">
                  <a:alpha val="0"/>
                </a:srgbClr>
              </a:clrTo>
            </a:clrChange>
          </a:blip>
          <a:srcRect r="13197"/>
          <a:stretch>
            <a:fillRect/>
          </a:stretch>
        </p:blipFill>
        <p:spPr>
          <a:xfrm>
            <a:off x="5397934" y="548681"/>
            <a:ext cx="3746066" cy="316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8894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/>
          <p:cNvSpPr>
            <a:spLocks noGrp="1"/>
          </p:cNvSpPr>
          <p:nvPr>
            <p:ph type="pic" sz="quarter" idx="10"/>
          </p:nvPr>
        </p:nvSpPr>
        <p:spPr>
          <a:xfrm>
            <a:off x="0" y="115888"/>
            <a:ext cx="9144000" cy="6742112"/>
          </a:xfrm>
        </p:spPr>
        <p:txBody>
          <a:bodyPr/>
          <a:lstStyle/>
          <a:p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37995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CA" noProof="0"/>
              <a:t>Click to edit title</a:t>
            </a:r>
            <a:endParaRPr lang="en-CA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350731" y="1196752"/>
            <a:ext cx="8397735" cy="4752528"/>
          </a:xfrm>
        </p:spPr>
        <p:txBody>
          <a:bodyPr lIns="0" rIns="72000"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 marL="177800" indent="-177800">
              <a:lnSpc>
                <a:spcPct val="100000"/>
              </a:lnSpc>
              <a:buClr>
                <a:srgbClr val="808D97"/>
              </a:buClr>
              <a:defRPr/>
            </a:lvl2pPr>
            <a:lvl3pPr marL="361950" indent="-184150">
              <a:lnSpc>
                <a:spcPct val="100000"/>
              </a:lnSpc>
              <a:buClr>
                <a:srgbClr val="8996A0"/>
              </a:buClr>
              <a:defRPr sz="1200"/>
            </a:lvl3pPr>
            <a:lvl4pPr marL="538163" indent="-176213">
              <a:lnSpc>
                <a:spcPct val="100000"/>
              </a:lnSpc>
              <a:buClr>
                <a:srgbClr val="8996A0"/>
              </a:buClr>
              <a:defRPr sz="1200"/>
            </a:lvl4pPr>
          </a:lstStyle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55577" y="6308725"/>
            <a:ext cx="6119887" cy="36036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rgbClr val="808D97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CA" dirty="0"/>
              <a:t>Click to add notes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360040" y="6309320"/>
            <a:ext cx="358417" cy="3600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90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fld id="{89A93721-A7E3-4E3B-BEAA-F100E0D8E961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534930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8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" y="1591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>
          <a:xfrm>
            <a:off x="8786280" y="1976848"/>
            <a:ext cx="349683" cy="301316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8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 Box 23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16200000">
            <a:off x="8392298" y="3215815"/>
            <a:ext cx="1336904" cy="12798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defTabSz="85098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416" dirty="0">
                <a:solidFill>
                  <a:srgbClr val="A69F88"/>
                </a:solidFill>
                <a:cs typeface="Arial" charset="0"/>
              </a:rPr>
              <a:t>PRIVATE AND CONFIDENTIAL</a:t>
            </a:r>
          </a:p>
          <a:p>
            <a:pPr algn="ctr" defTabSz="85098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CA" sz="416" dirty="0">
                <a:solidFill>
                  <a:srgbClr val="A69F88"/>
                </a:solidFill>
                <a:cs typeface="Arial" charset="0"/>
              </a:rPr>
              <a:t>© Bombardier Inc. or its subsidiari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88297903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bg>
      <p:bgPr>
        <a:solidFill>
          <a:srgbClr val="8AC2E6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374" y="0"/>
            <a:ext cx="4329626" cy="5767198"/>
          </a:xfrm>
          <a:prstGeom prst="rect">
            <a:avLst/>
          </a:prstGeom>
        </p:spPr>
      </p:pic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31875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1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3187533" cy="4166998"/>
          </a:xfrm>
        </p:spPr>
        <p:txBody>
          <a:bodyPr/>
          <a:lstStyle>
            <a:lvl1pPr>
              <a:defRPr sz="2800" baseline="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0678318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634163" y="6715126"/>
            <a:ext cx="2133600" cy="1254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31/03/08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5CD6E20-22F2-4CA5-AC23-26366422E47B}" type="slidenum">
              <a:rPr lang="en-CA"/>
              <a:pPr/>
              <a:t>‹#›</a:t>
            </a:fld>
            <a:endParaRPr lang="en-CA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>
          <a:xfrm>
            <a:off x="898527" y="6323014"/>
            <a:ext cx="5243513" cy="2524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prstClr val="black"/>
                </a:solidFill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8093383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8" descr="GRAPHIC_small10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objekt 9" descr="gbg_st_cmyk_neg-0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829041" y="2592917"/>
            <a:ext cx="677133" cy="1430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ak 5"/>
          <p:cNvCxnSpPr/>
          <p:nvPr/>
        </p:nvCxnSpPr>
        <p:spPr>
          <a:xfrm>
            <a:off x="2160588" y="2167467"/>
            <a:ext cx="0" cy="2266951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ubrik 4"/>
          <p:cNvSpPr>
            <a:spLocks noGrp="1"/>
          </p:cNvSpPr>
          <p:nvPr>
            <p:ph type="title"/>
          </p:nvPr>
        </p:nvSpPr>
        <p:spPr>
          <a:xfrm>
            <a:off x="2796528" y="2405248"/>
            <a:ext cx="5486252" cy="985563"/>
          </a:xfrm>
        </p:spPr>
        <p:txBody>
          <a:bodyPr wrap="square" anchor="b"/>
          <a:lstStyle>
            <a:lvl1pPr>
              <a:lnSpc>
                <a:spcPct val="100000"/>
              </a:lnSpc>
              <a:defRPr sz="50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7" name="Platshållare för text 11"/>
          <p:cNvSpPr>
            <a:spLocks noGrp="1"/>
          </p:cNvSpPr>
          <p:nvPr>
            <p:ph type="body" sz="quarter" idx="14"/>
          </p:nvPr>
        </p:nvSpPr>
        <p:spPr>
          <a:xfrm>
            <a:off x="2815706" y="3563638"/>
            <a:ext cx="5475620" cy="307777"/>
          </a:xfrm>
        </p:spPr>
        <p:txBody>
          <a:bodyPr>
            <a:spAutoFit/>
          </a:bodyPr>
          <a:lstStyle>
            <a:lvl1pPr marL="0" indent="0">
              <a:spcAft>
                <a:spcPts val="0"/>
              </a:spcAft>
              <a:buNone/>
              <a:defRPr sz="2000">
                <a:solidFill>
                  <a:srgbClr val="FFFFFF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3589429861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+ 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8"/>
          <p:cNvSpPr>
            <a:spLocks noGrp="1"/>
          </p:cNvSpPr>
          <p:nvPr>
            <p:ph type="title"/>
          </p:nvPr>
        </p:nvSpPr>
        <p:spPr>
          <a:xfrm>
            <a:off x="270000" y="475703"/>
            <a:ext cx="6738950" cy="695069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10" name="Platshållare för text 12"/>
          <p:cNvSpPr>
            <a:spLocks noGrp="1"/>
          </p:cNvSpPr>
          <p:nvPr>
            <p:ph type="body" sz="quarter" idx="13"/>
          </p:nvPr>
        </p:nvSpPr>
        <p:spPr>
          <a:xfrm>
            <a:off x="270000" y="1569600"/>
            <a:ext cx="8228598" cy="4694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71444807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+  bild -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271350" y="1367999"/>
            <a:ext cx="8555150" cy="4824000"/>
          </a:xfrm>
          <a:solidFill>
            <a:schemeClr val="bg1">
              <a:lumMod val="95000"/>
            </a:schemeClr>
          </a:solidFill>
        </p:spPr>
        <p:txBody>
          <a:bodyPr lIns="180000" tIns="180000" rtlCol="0">
            <a:noAutofit/>
          </a:bodyPr>
          <a:lstStyle>
            <a:lvl1pPr marL="180000" marR="0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/>
              <a:buChar char="•"/>
              <a:tabLst/>
              <a:defRPr sz="12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på ikonen för att lägga till en bild</a:t>
            </a:r>
            <a:endParaRPr lang="sv-SE" noProof="0" dirty="0"/>
          </a:p>
        </p:txBody>
      </p:sp>
      <p:sp>
        <p:nvSpPr>
          <p:cNvPr id="9" name="Rubrik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33439316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+  bild -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270000" y="1367999"/>
            <a:ext cx="8553600" cy="4824000"/>
          </a:xfrm>
          <a:solidFill>
            <a:schemeClr val="bg1">
              <a:lumMod val="95000"/>
            </a:schemeClr>
          </a:solidFill>
        </p:spPr>
        <p:txBody>
          <a:bodyPr lIns="180000" tIns="180000" rtlCol="0">
            <a:noAutofit/>
          </a:bodyPr>
          <a:lstStyle>
            <a:lvl1pPr marL="180000" marR="0" indent="-180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/>
              <a:buChar char="•"/>
              <a:tabLst/>
              <a:defRPr sz="12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på ikonen för att lägga till en bild</a:t>
            </a:r>
            <a:endParaRPr lang="sv-SE" noProof="0" dirty="0"/>
          </a:p>
        </p:txBody>
      </p:sp>
      <p:sp>
        <p:nvSpPr>
          <p:cNvPr id="9" name="Rubrik 8"/>
          <p:cNvSpPr>
            <a:spLocks noGrp="1"/>
          </p:cNvSpPr>
          <p:nvPr>
            <p:ph type="title"/>
          </p:nvPr>
        </p:nvSpPr>
        <p:spPr>
          <a:xfrm>
            <a:off x="270000" y="475703"/>
            <a:ext cx="6738950" cy="695069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6" name="Platshållare för text 4"/>
          <p:cNvSpPr>
            <a:spLocks noGrp="1"/>
          </p:cNvSpPr>
          <p:nvPr>
            <p:ph type="body" sz="quarter" idx="16"/>
          </p:nvPr>
        </p:nvSpPr>
        <p:spPr>
          <a:xfrm>
            <a:off x="4859594" y="2507995"/>
            <a:ext cx="3583858" cy="275748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85724888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+ grafik -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innehåll 10"/>
          <p:cNvSpPr>
            <a:spLocks noGrp="1"/>
          </p:cNvSpPr>
          <p:nvPr>
            <p:ph sz="quarter" idx="16"/>
          </p:nvPr>
        </p:nvSpPr>
        <p:spPr>
          <a:xfrm>
            <a:off x="271350" y="1368000"/>
            <a:ext cx="8553600" cy="4824000"/>
          </a:xfrm>
          <a:solidFill>
            <a:schemeClr val="bg1">
              <a:lumMod val="95000"/>
            </a:schemeClr>
          </a:solidFill>
        </p:spPr>
        <p:txBody>
          <a:bodyPr lIns="180000" tIns="180000"/>
          <a:lstStyle>
            <a:lvl1pPr marL="179388" indent="-179388">
              <a:defRPr sz="1200" i="1">
                <a:solidFill>
                  <a:schemeClr val="tx1"/>
                </a:solidFill>
              </a:defRPr>
            </a:lvl1pPr>
            <a:lvl2pPr marL="712788" indent="-266700">
              <a:defRPr sz="2000"/>
            </a:lvl2pPr>
            <a:lvl3pPr marL="712788" indent="-266700">
              <a:defRPr sz="1600"/>
            </a:lvl3pPr>
            <a:lvl4pPr marL="712788" indent="-266700">
              <a:defRPr sz="1600"/>
            </a:lvl4pPr>
            <a:lvl5pPr marL="712788" indent="-266700">
              <a:defRPr sz="16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15903671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/>
          <p:cNvSpPr>
            <a:spLocks noGrp="1"/>
          </p:cNvSpPr>
          <p:nvPr>
            <p:ph type="pic" sz="quarter" idx="12"/>
          </p:nvPr>
        </p:nvSpPr>
        <p:spPr>
          <a:xfrm>
            <a:off x="270000" y="1368000"/>
            <a:ext cx="2977928" cy="4824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180000" rtlCol="0">
            <a:noAutofit/>
          </a:bodyPr>
          <a:lstStyle>
            <a:lvl1pPr>
              <a:defRPr sz="12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på ikonen för att lägga till en bild</a:t>
            </a:r>
            <a:endParaRPr lang="sv-SE" noProof="0" dirty="0"/>
          </a:p>
        </p:txBody>
      </p:sp>
      <p:sp>
        <p:nvSpPr>
          <p:cNvPr id="13" name="Platshållare för text 12"/>
          <p:cNvSpPr>
            <a:spLocks noGrp="1"/>
          </p:cNvSpPr>
          <p:nvPr>
            <p:ph type="body" sz="quarter" idx="13"/>
          </p:nvPr>
        </p:nvSpPr>
        <p:spPr>
          <a:xfrm>
            <a:off x="3581057" y="1569600"/>
            <a:ext cx="5040000" cy="469498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95205117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/>
          <p:cNvSpPr>
            <a:spLocks noGrp="1"/>
          </p:cNvSpPr>
          <p:nvPr>
            <p:ph type="pic" sz="quarter" idx="12"/>
          </p:nvPr>
        </p:nvSpPr>
        <p:spPr>
          <a:xfrm>
            <a:off x="5821178" y="1368000"/>
            <a:ext cx="2977200" cy="4824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180000" rtlCol="0">
            <a:noAutofit/>
          </a:bodyPr>
          <a:lstStyle>
            <a:lvl1pPr>
              <a:defRPr sz="120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på ikonen för att lägga till en bild</a:t>
            </a:r>
            <a:endParaRPr lang="sv-SE" noProof="0" dirty="0"/>
          </a:p>
        </p:txBody>
      </p:sp>
      <p:sp>
        <p:nvSpPr>
          <p:cNvPr id="13" name="Platshållare för text 12"/>
          <p:cNvSpPr>
            <a:spLocks noGrp="1"/>
          </p:cNvSpPr>
          <p:nvPr>
            <p:ph type="body" sz="quarter" idx="13"/>
          </p:nvPr>
        </p:nvSpPr>
        <p:spPr>
          <a:xfrm>
            <a:off x="270000" y="1569600"/>
            <a:ext cx="5334933" cy="4621651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11278021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grafik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/>
          <p:cNvSpPr>
            <a:spLocks noGrp="1"/>
          </p:cNvSpPr>
          <p:nvPr>
            <p:ph type="pic" sz="quarter" idx="12"/>
          </p:nvPr>
        </p:nvSpPr>
        <p:spPr>
          <a:xfrm>
            <a:off x="270000" y="1368000"/>
            <a:ext cx="3060000" cy="4824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180000" rtlCol="0">
            <a:noAutofit/>
          </a:bodyPr>
          <a:lstStyle>
            <a:lvl1pPr>
              <a:defRPr sz="12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på ikonen för att lägga till en bild</a:t>
            </a:r>
            <a:endParaRPr lang="sv-SE" noProof="0" dirty="0"/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11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3446528" y="1368000"/>
            <a:ext cx="5364000" cy="4824000"/>
          </a:xfrm>
          <a:solidFill>
            <a:schemeClr val="bg1">
              <a:lumMod val="95000"/>
            </a:schemeClr>
          </a:solidFill>
        </p:spPr>
        <p:txBody>
          <a:bodyPr lIns="180000" tIns="180000"/>
          <a:lstStyle>
            <a:lvl1pPr>
              <a:defRPr sz="1200"/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1061539841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grafik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270000" y="1368000"/>
            <a:ext cx="5364000" cy="4824000"/>
          </a:xfrm>
          <a:solidFill>
            <a:schemeClr val="bg1">
              <a:lumMod val="95000"/>
            </a:schemeClr>
          </a:solidFill>
        </p:spPr>
        <p:txBody>
          <a:bodyPr lIns="180000" tIns="180000"/>
          <a:lstStyle>
            <a:lvl1pPr>
              <a:defRPr sz="120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2"/>
          </p:nvPr>
        </p:nvSpPr>
        <p:spPr>
          <a:xfrm>
            <a:off x="5762595" y="1367999"/>
            <a:ext cx="3060000" cy="4824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lIns="180000" tIns="180000" rtlCol="0">
            <a:noAutofit/>
          </a:bodyPr>
          <a:lstStyle>
            <a:lvl1pPr>
              <a:defRPr sz="12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på ikonen för att lägga till en bild</a:t>
            </a:r>
            <a:endParaRPr lang="sv-SE" noProof="0" dirty="0"/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38292627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ubrik och innehåll">
    <p:bg>
      <p:bgPr>
        <a:solidFill>
          <a:srgbClr val="8AC2E6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374" y="0"/>
            <a:ext cx="4329626" cy="5767198"/>
          </a:xfrm>
          <a:prstGeom prst="rect">
            <a:avLst/>
          </a:prstGeom>
        </p:spPr>
      </p:pic>
      <p:sp>
        <p:nvSpPr>
          <p:cNvPr id="12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31875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4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3187533" cy="4166998"/>
          </a:xfrm>
        </p:spPr>
        <p:txBody>
          <a:bodyPr/>
          <a:lstStyle>
            <a:lvl1pPr>
              <a:defRPr sz="2800" baseline="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96458838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fik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270000" y="1368000"/>
            <a:ext cx="5364000" cy="4824000"/>
          </a:xfrm>
          <a:solidFill>
            <a:schemeClr val="bg1">
              <a:lumMod val="95000"/>
            </a:schemeClr>
          </a:solidFill>
        </p:spPr>
        <p:txBody>
          <a:bodyPr lIns="180000" tIns="180000"/>
          <a:lstStyle>
            <a:lvl1pPr>
              <a:defRPr sz="1200" i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4"/>
          </p:nvPr>
        </p:nvSpPr>
        <p:spPr>
          <a:xfrm>
            <a:off x="5889600" y="1569600"/>
            <a:ext cx="2732400" cy="4622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sv-SE" sz="2800" b="1" i="0" u="none" strike="noStrike" baseline="0" smtClean="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52199212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fik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3480396" y="1368000"/>
            <a:ext cx="5364000" cy="4824000"/>
          </a:xfrm>
          <a:solidFill>
            <a:schemeClr val="bg1">
              <a:lumMod val="95000"/>
            </a:schemeClr>
          </a:solidFill>
        </p:spPr>
        <p:txBody>
          <a:bodyPr lIns="180000" tIns="180000"/>
          <a:lstStyle>
            <a:lvl1pPr>
              <a:defRPr sz="12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4"/>
          </p:nvPr>
        </p:nvSpPr>
        <p:spPr>
          <a:xfrm>
            <a:off x="271351" y="1569600"/>
            <a:ext cx="2996783" cy="4621651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24557560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sp>
        <p:nvSpPr>
          <p:cNvPr id="9" name="Rectangle 1"/>
          <p:cNvSpPr>
            <a:spLocks noChangeAspect="1"/>
          </p:cNvSpPr>
          <p:nvPr userDrawn="1"/>
        </p:nvSpPr>
        <p:spPr>
          <a:xfrm>
            <a:off x="1932781" y="777240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14816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92" r="5382" b="9049"/>
          <a:stretch/>
        </p:blipFill>
        <p:spPr>
          <a:xfrm flipH="1">
            <a:off x="-38100" y="1"/>
            <a:ext cx="9201150" cy="6877050"/>
          </a:xfrm>
          <a:prstGeom prst="rect">
            <a:avLst/>
          </a:prstGeom>
        </p:spPr>
      </p:pic>
      <p:sp>
        <p:nvSpPr>
          <p:cNvPr id="8" name="Rectangle 1"/>
          <p:cNvSpPr>
            <a:spLocks noChangeAspect="1"/>
          </p:cNvSpPr>
          <p:nvPr userDrawn="1"/>
        </p:nvSpPr>
        <p:spPr>
          <a:xfrm>
            <a:off x="3385622" y="1915816"/>
            <a:ext cx="5304410" cy="2669967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2273250" y="2092518"/>
            <a:ext cx="5490000" cy="860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273250" y="3088214"/>
            <a:ext cx="5490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3" name="Group 4"/>
          <p:cNvGrpSpPr>
            <a:grpSpLocks noChangeAspect="1"/>
          </p:cNvGrpSpPr>
          <p:nvPr userDrawn="1"/>
        </p:nvGrpSpPr>
        <p:grpSpPr bwMode="auto">
          <a:xfrm>
            <a:off x="7763250" y="5132135"/>
            <a:ext cx="1069975" cy="1254125"/>
            <a:chOff x="5798" y="3701"/>
            <a:chExt cx="674" cy="790"/>
          </a:xfrm>
        </p:grpSpPr>
        <p:sp>
          <p:nvSpPr>
            <p:cNvPr id="1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5798" y="3701"/>
              <a:ext cx="674" cy="7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5" name="Freeform 5"/>
            <p:cNvSpPr>
              <a:spLocks/>
            </p:cNvSpPr>
            <p:nvPr userDrawn="1"/>
          </p:nvSpPr>
          <p:spPr bwMode="auto">
            <a:xfrm>
              <a:off x="5798" y="3701"/>
              <a:ext cx="540" cy="197"/>
            </a:xfrm>
            <a:custGeom>
              <a:avLst/>
              <a:gdLst>
                <a:gd name="T0" fmla="*/ 2161 w 2161"/>
                <a:gd name="T1" fmla="*/ 0 h 788"/>
                <a:gd name="T2" fmla="*/ 0 w 2161"/>
                <a:gd name="T3" fmla="*/ 788 h 788"/>
                <a:gd name="T4" fmla="*/ 2161 w 2161"/>
                <a:gd name="T5" fmla="*/ 407 h 788"/>
                <a:gd name="T6" fmla="*/ 2161 w 2161"/>
                <a:gd name="T7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1" h="788">
                  <a:moveTo>
                    <a:pt x="2161" y="0"/>
                  </a:moveTo>
                  <a:lnTo>
                    <a:pt x="0" y="788"/>
                  </a:lnTo>
                  <a:lnTo>
                    <a:pt x="2161" y="407"/>
                  </a:lnTo>
                  <a:lnTo>
                    <a:pt x="2161" y="0"/>
                  </a:lnTo>
                  <a:close/>
                </a:path>
              </a:pathLst>
            </a:cu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/>
            <p:cNvSpPr>
              <a:spLocks noEditPoints="1"/>
            </p:cNvSpPr>
            <p:nvPr userDrawn="1"/>
          </p:nvSpPr>
          <p:spPr bwMode="auto">
            <a:xfrm>
              <a:off x="5798" y="3980"/>
              <a:ext cx="674" cy="511"/>
            </a:xfrm>
            <a:custGeom>
              <a:avLst/>
              <a:gdLst>
                <a:gd name="T0" fmla="*/ 198 w 2696"/>
                <a:gd name="T1" fmla="*/ 1381 h 2043"/>
                <a:gd name="T2" fmla="*/ 225 w 2696"/>
                <a:gd name="T3" fmla="*/ 1539 h 2043"/>
                <a:gd name="T4" fmla="*/ 132 w 2696"/>
                <a:gd name="T5" fmla="*/ 1580 h 2043"/>
                <a:gd name="T6" fmla="*/ 258 w 2696"/>
                <a:gd name="T7" fmla="*/ 1430 h 2043"/>
                <a:gd name="T8" fmla="*/ 377 w 2696"/>
                <a:gd name="T9" fmla="*/ 1624 h 2043"/>
                <a:gd name="T10" fmla="*/ 990 w 2696"/>
                <a:gd name="T11" fmla="*/ 1430 h 2043"/>
                <a:gd name="T12" fmla="*/ 1062 w 2696"/>
                <a:gd name="T13" fmla="*/ 1506 h 2043"/>
                <a:gd name="T14" fmla="*/ 559 w 2696"/>
                <a:gd name="T15" fmla="*/ 1373 h 2043"/>
                <a:gd name="T16" fmla="*/ 643 w 2696"/>
                <a:gd name="T17" fmla="*/ 1503 h 2043"/>
                <a:gd name="T18" fmla="*/ 760 w 2696"/>
                <a:gd name="T19" fmla="*/ 1373 h 2043"/>
                <a:gd name="T20" fmla="*/ 743 w 2696"/>
                <a:gd name="T21" fmla="*/ 1474 h 2043"/>
                <a:gd name="T22" fmla="*/ 1765 w 2696"/>
                <a:gd name="T23" fmla="*/ 1611 h 2043"/>
                <a:gd name="T24" fmla="*/ 1867 w 2696"/>
                <a:gd name="T25" fmla="*/ 1459 h 2043"/>
                <a:gd name="T26" fmla="*/ 1830 w 2696"/>
                <a:gd name="T27" fmla="*/ 1562 h 2043"/>
                <a:gd name="T28" fmla="*/ 1218 w 2696"/>
                <a:gd name="T29" fmla="*/ 1426 h 2043"/>
                <a:gd name="T30" fmla="*/ 1185 w 2696"/>
                <a:gd name="T31" fmla="*/ 1622 h 2043"/>
                <a:gd name="T32" fmla="*/ 1216 w 2696"/>
                <a:gd name="T33" fmla="*/ 1704 h 2043"/>
                <a:gd name="T34" fmla="*/ 1238 w 2696"/>
                <a:gd name="T35" fmla="*/ 1583 h 2043"/>
                <a:gd name="T36" fmla="*/ 1245 w 2696"/>
                <a:gd name="T37" fmla="*/ 1474 h 2043"/>
                <a:gd name="T38" fmla="*/ 1512 w 2696"/>
                <a:gd name="T39" fmla="*/ 1498 h 2043"/>
                <a:gd name="T40" fmla="*/ 1484 w 2696"/>
                <a:gd name="T41" fmla="*/ 1628 h 2043"/>
                <a:gd name="T42" fmla="*/ 1440 w 2696"/>
                <a:gd name="T43" fmla="*/ 1445 h 2043"/>
                <a:gd name="T44" fmla="*/ 1505 w 2696"/>
                <a:gd name="T45" fmla="*/ 1590 h 2043"/>
                <a:gd name="T46" fmla="*/ 2075 w 2696"/>
                <a:gd name="T47" fmla="*/ 1542 h 2043"/>
                <a:gd name="T48" fmla="*/ 1952 w 2696"/>
                <a:gd name="T49" fmla="*/ 1438 h 2043"/>
                <a:gd name="T50" fmla="*/ 1961 w 2696"/>
                <a:gd name="T51" fmla="*/ 1622 h 2043"/>
                <a:gd name="T52" fmla="*/ 1993 w 2696"/>
                <a:gd name="T53" fmla="*/ 1467 h 2043"/>
                <a:gd name="T54" fmla="*/ 2420 w 2696"/>
                <a:gd name="T55" fmla="*/ 1542 h 2043"/>
                <a:gd name="T56" fmla="*/ 2422 w 2696"/>
                <a:gd name="T57" fmla="*/ 1434 h 2043"/>
                <a:gd name="T58" fmla="*/ 2416 w 2696"/>
                <a:gd name="T59" fmla="*/ 1618 h 2043"/>
                <a:gd name="T60" fmla="*/ 2449 w 2696"/>
                <a:gd name="T61" fmla="*/ 1467 h 2043"/>
                <a:gd name="T62" fmla="*/ 2353 w 2696"/>
                <a:gd name="T63" fmla="*/ 1575 h 2043"/>
                <a:gd name="T64" fmla="*/ 2348 w 2696"/>
                <a:gd name="T65" fmla="*/ 1475 h 2043"/>
                <a:gd name="T66" fmla="*/ 2167 w 2696"/>
                <a:gd name="T67" fmla="*/ 1430 h 2043"/>
                <a:gd name="T68" fmla="*/ 2652 w 2696"/>
                <a:gd name="T69" fmla="*/ 1474 h 2043"/>
                <a:gd name="T70" fmla="*/ 2684 w 2696"/>
                <a:gd name="T71" fmla="*/ 1485 h 2043"/>
                <a:gd name="T72" fmla="*/ 2174 w 2696"/>
                <a:gd name="T73" fmla="*/ 1765 h 2043"/>
                <a:gd name="T74" fmla="*/ 2142 w 2696"/>
                <a:gd name="T75" fmla="*/ 1962 h 2043"/>
                <a:gd name="T76" fmla="*/ 2147 w 2696"/>
                <a:gd name="T77" fmla="*/ 1864 h 2043"/>
                <a:gd name="T78" fmla="*/ 2183 w 2696"/>
                <a:gd name="T79" fmla="*/ 1925 h 2043"/>
                <a:gd name="T80" fmla="*/ 539 w 2696"/>
                <a:gd name="T81" fmla="*/ 1770 h 2043"/>
                <a:gd name="T82" fmla="*/ 68 w 2696"/>
                <a:gd name="T83" fmla="*/ 1842 h 2043"/>
                <a:gd name="T84" fmla="*/ 298 w 2696"/>
                <a:gd name="T85" fmla="*/ 1788 h 2043"/>
                <a:gd name="T86" fmla="*/ 336 w 2696"/>
                <a:gd name="T87" fmla="*/ 1967 h 2043"/>
                <a:gd name="T88" fmla="*/ 436 w 2696"/>
                <a:gd name="T89" fmla="*/ 1826 h 2043"/>
                <a:gd name="T90" fmla="*/ 315 w 2696"/>
                <a:gd name="T91" fmla="*/ 1868 h 2043"/>
                <a:gd name="T92" fmla="*/ 371 w 2696"/>
                <a:gd name="T93" fmla="*/ 1919 h 2043"/>
                <a:gd name="T94" fmla="*/ 1915 w 2696"/>
                <a:gd name="T95" fmla="*/ 1786 h 2043"/>
                <a:gd name="T96" fmla="*/ 1394 w 2696"/>
                <a:gd name="T97" fmla="*/ 1770 h 2043"/>
                <a:gd name="T98" fmla="*/ 1705 w 2696"/>
                <a:gd name="T99" fmla="*/ 1777 h 2043"/>
                <a:gd name="T100" fmla="*/ 1713 w 2696"/>
                <a:gd name="T101" fmla="*/ 1961 h 2043"/>
                <a:gd name="T102" fmla="*/ 1835 w 2696"/>
                <a:gd name="T103" fmla="*/ 1846 h 2043"/>
                <a:gd name="T104" fmla="*/ 1710 w 2696"/>
                <a:gd name="T105" fmla="*/ 1879 h 2043"/>
                <a:gd name="T106" fmla="*/ 1777 w 2696"/>
                <a:gd name="T107" fmla="*/ 1909 h 2043"/>
                <a:gd name="T108" fmla="*/ 958 w 2696"/>
                <a:gd name="T109" fmla="*/ 1770 h 2043"/>
                <a:gd name="T110" fmla="*/ 1030 w 2696"/>
                <a:gd name="T111" fmla="*/ 1846 h 2043"/>
                <a:gd name="T112" fmla="*/ 1187 w 2696"/>
                <a:gd name="T113" fmla="*/ 1765 h 2043"/>
                <a:gd name="T114" fmla="*/ 1161 w 2696"/>
                <a:gd name="T115" fmla="*/ 1965 h 2043"/>
                <a:gd name="T116" fmla="*/ 1183 w 2696"/>
                <a:gd name="T117" fmla="*/ 2043 h 2043"/>
                <a:gd name="T118" fmla="*/ 1201 w 2696"/>
                <a:gd name="T119" fmla="*/ 1923 h 2043"/>
                <a:gd name="T120" fmla="*/ 1217 w 2696"/>
                <a:gd name="T121" fmla="*/ 1816 h 2043"/>
                <a:gd name="T122" fmla="*/ 741 w 2696"/>
                <a:gd name="T123" fmla="*/ 432 h 2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96" h="2043">
                  <a:moveTo>
                    <a:pt x="225" y="1539"/>
                  </a:moveTo>
                  <a:lnTo>
                    <a:pt x="225" y="1539"/>
                  </a:lnTo>
                  <a:lnTo>
                    <a:pt x="223" y="1527"/>
                  </a:lnTo>
                  <a:lnTo>
                    <a:pt x="221" y="1515"/>
                  </a:lnTo>
                  <a:lnTo>
                    <a:pt x="215" y="1506"/>
                  </a:lnTo>
                  <a:lnTo>
                    <a:pt x="210" y="1499"/>
                  </a:lnTo>
                  <a:lnTo>
                    <a:pt x="203" y="1493"/>
                  </a:lnTo>
                  <a:lnTo>
                    <a:pt x="197" y="1487"/>
                  </a:lnTo>
                  <a:lnTo>
                    <a:pt x="185" y="1481"/>
                  </a:lnTo>
                  <a:lnTo>
                    <a:pt x="185" y="1481"/>
                  </a:lnTo>
                  <a:lnTo>
                    <a:pt x="191" y="1477"/>
                  </a:lnTo>
                  <a:lnTo>
                    <a:pt x="197" y="1471"/>
                  </a:lnTo>
                  <a:lnTo>
                    <a:pt x="202" y="1466"/>
                  </a:lnTo>
                  <a:lnTo>
                    <a:pt x="207" y="1459"/>
                  </a:lnTo>
                  <a:lnTo>
                    <a:pt x="210" y="1451"/>
                  </a:lnTo>
                  <a:lnTo>
                    <a:pt x="213" y="1445"/>
                  </a:lnTo>
                  <a:lnTo>
                    <a:pt x="215" y="1437"/>
                  </a:lnTo>
                  <a:lnTo>
                    <a:pt x="215" y="1427"/>
                  </a:lnTo>
                  <a:lnTo>
                    <a:pt x="215" y="1427"/>
                  </a:lnTo>
                  <a:lnTo>
                    <a:pt x="214" y="1413"/>
                  </a:lnTo>
                  <a:lnTo>
                    <a:pt x="210" y="1398"/>
                  </a:lnTo>
                  <a:lnTo>
                    <a:pt x="206" y="1393"/>
                  </a:lnTo>
                  <a:lnTo>
                    <a:pt x="203" y="1386"/>
                  </a:lnTo>
                  <a:lnTo>
                    <a:pt x="198" y="1381"/>
                  </a:lnTo>
                  <a:lnTo>
                    <a:pt x="194" y="1377"/>
                  </a:lnTo>
                  <a:lnTo>
                    <a:pt x="182" y="1369"/>
                  </a:lnTo>
                  <a:lnTo>
                    <a:pt x="167" y="1364"/>
                  </a:lnTo>
                  <a:lnTo>
                    <a:pt x="151" y="1360"/>
                  </a:lnTo>
                  <a:lnTo>
                    <a:pt x="133" y="1358"/>
                  </a:lnTo>
                  <a:lnTo>
                    <a:pt x="20" y="1358"/>
                  </a:lnTo>
                  <a:lnTo>
                    <a:pt x="20" y="1624"/>
                  </a:lnTo>
                  <a:lnTo>
                    <a:pt x="132" y="1624"/>
                  </a:lnTo>
                  <a:lnTo>
                    <a:pt x="132" y="1624"/>
                  </a:lnTo>
                  <a:lnTo>
                    <a:pt x="151" y="1623"/>
                  </a:lnTo>
                  <a:lnTo>
                    <a:pt x="162" y="1622"/>
                  </a:lnTo>
                  <a:lnTo>
                    <a:pt x="170" y="1619"/>
                  </a:lnTo>
                  <a:lnTo>
                    <a:pt x="178" y="1616"/>
                  </a:lnTo>
                  <a:lnTo>
                    <a:pt x="186" y="1612"/>
                  </a:lnTo>
                  <a:lnTo>
                    <a:pt x="193" y="1607"/>
                  </a:lnTo>
                  <a:lnTo>
                    <a:pt x="199" y="1602"/>
                  </a:lnTo>
                  <a:lnTo>
                    <a:pt x="205" y="1596"/>
                  </a:lnTo>
                  <a:lnTo>
                    <a:pt x="210" y="1590"/>
                  </a:lnTo>
                  <a:lnTo>
                    <a:pt x="214" y="1583"/>
                  </a:lnTo>
                  <a:lnTo>
                    <a:pt x="218" y="1575"/>
                  </a:lnTo>
                  <a:lnTo>
                    <a:pt x="221" y="1567"/>
                  </a:lnTo>
                  <a:lnTo>
                    <a:pt x="223" y="1559"/>
                  </a:lnTo>
                  <a:lnTo>
                    <a:pt x="223" y="1550"/>
                  </a:lnTo>
                  <a:lnTo>
                    <a:pt x="225" y="1539"/>
                  </a:lnTo>
                  <a:lnTo>
                    <a:pt x="225" y="1539"/>
                  </a:lnTo>
                  <a:close/>
                  <a:moveTo>
                    <a:pt x="132" y="1580"/>
                  </a:moveTo>
                  <a:lnTo>
                    <a:pt x="69" y="1580"/>
                  </a:lnTo>
                  <a:lnTo>
                    <a:pt x="69" y="1505"/>
                  </a:lnTo>
                  <a:lnTo>
                    <a:pt x="132" y="1505"/>
                  </a:lnTo>
                  <a:lnTo>
                    <a:pt x="132" y="1505"/>
                  </a:lnTo>
                  <a:lnTo>
                    <a:pt x="141" y="1505"/>
                  </a:lnTo>
                  <a:lnTo>
                    <a:pt x="149" y="1506"/>
                  </a:lnTo>
                  <a:lnTo>
                    <a:pt x="157" y="1510"/>
                  </a:lnTo>
                  <a:lnTo>
                    <a:pt x="162" y="1514"/>
                  </a:lnTo>
                  <a:lnTo>
                    <a:pt x="166" y="1519"/>
                  </a:lnTo>
                  <a:lnTo>
                    <a:pt x="170" y="1526"/>
                  </a:lnTo>
                  <a:lnTo>
                    <a:pt x="171" y="1533"/>
                  </a:lnTo>
                  <a:lnTo>
                    <a:pt x="171" y="1542"/>
                  </a:lnTo>
                  <a:lnTo>
                    <a:pt x="171" y="1542"/>
                  </a:lnTo>
                  <a:lnTo>
                    <a:pt x="171" y="1550"/>
                  </a:lnTo>
                  <a:lnTo>
                    <a:pt x="169" y="1558"/>
                  </a:lnTo>
                  <a:lnTo>
                    <a:pt x="166" y="1564"/>
                  </a:lnTo>
                  <a:lnTo>
                    <a:pt x="161" y="1570"/>
                  </a:lnTo>
                  <a:lnTo>
                    <a:pt x="155" y="1574"/>
                  </a:lnTo>
                  <a:lnTo>
                    <a:pt x="149" y="1578"/>
                  </a:lnTo>
                  <a:lnTo>
                    <a:pt x="141" y="1579"/>
                  </a:lnTo>
                  <a:lnTo>
                    <a:pt x="132" y="1580"/>
                  </a:lnTo>
                  <a:lnTo>
                    <a:pt x="132" y="1580"/>
                  </a:lnTo>
                  <a:close/>
                  <a:moveTo>
                    <a:pt x="132" y="1461"/>
                  </a:moveTo>
                  <a:lnTo>
                    <a:pt x="69" y="1461"/>
                  </a:lnTo>
                  <a:lnTo>
                    <a:pt x="69" y="1404"/>
                  </a:lnTo>
                  <a:lnTo>
                    <a:pt x="129" y="1404"/>
                  </a:lnTo>
                  <a:lnTo>
                    <a:pt x="129" y="1404"/>
                  </a:lnTo>
                  <a:lnTo>
                    <a:pt x="137" y="1405"/>
                  </a:lnTo>
                  <a:lnTo>
                    <a:pt x="144" y="1406"/>
                  </a:lnTo>
                  <a:lnTo>
                    <a:pt x="150" y="1408"/>
                  </a:lnTo>
                  <a:lnTo>
                    <a:pt x="155" y="1412"/>
                  </a:lnTo>
                  <a:lnTo>
                    <a:pt x="158" y="1416"/>
                  </a:lnTo>
                  <a:lnTo>
                    <a:pt x="162" y="1420"/>
                  </a:lnTo>
                  <a:lnTo>
                    <a:pt x="163" y="1426"/>
                  </a:lnTo>
                  <a:lnTo>
                    <a:pt x="163" y="1433"/>
                  </a:lnTo>
                  <a:lnTo>
                    <a:pt x="163" y="1433"/>
                  </a:lnTo>
                  <a:lnTo>
                    <a:pt x="162" y="1442"/>
                  </a:lnTo>
                  <a:lnTo>
                    <a:pt x="161" y="1447"/>
                  </a:lnTo>
                  <a:lnTo>
                    <a:pt x="158" y="1451"/>
                  </a:lnTo>
                  <a:lnTo>
                    <a:pt x="153" y="1455"/>
                  </a:lnTo>
                  <a:lnTo>
                    <a:pt x="147" y="1458"/>
                  </a:lnTo>
                  <a:lnTo>
                    <a:pt x="141" y="1459"/>
                  </a:lnTo>
                  <a:lnTo>
                    <a:pt x="132" y="1461"/>
                  </a:lnTo>
                  <a:lnTo>
                    <a:pt x="132" y="1461"/>
                  </a:lnTo>
                  <a:close/>
                  <a:moveTo>
                    <a:pt x="258" y="1540"/>
                  </a:moveTo>
                  <a:lnTo>
                    <a:pt x="258" y="1430"/>
                  </a:lnTo>
                  <a:lnTo>
                    <a:pt x="306" y="1430"/>
                  </a:lnTo>
                  <a:lnTo>
                    <a:pt x="306" y="1538"/>
                  </a:lnTo>
                  <a:lnTo>
                    <a:pt x="306" y="1538"/>
                  </a:lnTo>
                  <a:lnTo>
                    <a:pt x="307" y="1548"/>
                  </a:lnTo>
                  <a:lnTo>
                    <a:pt x="308" y="1559"/>
                  </a:lnTo>
                  <a:lnTo>
                    <a:pt x="311" y="1567"/>
                  </a:lnTo>
                  <a:lnTo>
                    <a:pt x="315" y="1574"/>
                  </a:lnTo>
                  <a:lnTo>
                    <a:pt x="320" y="1579"/>
                  </a:lnTo>
                  <a:lnTo>
                    <a:pt x="326" y="1582"/>
                  </a:lnTo>
                  <a:lnTo>
                    <a:pt x="334" y="1584"/>
                  </a:lnTo>
                  <a:lnTo>
                    <a:pt x="341" y="1584"/>
                  </a:lnTo>
                  <a:lnTo>
                    <a:pt x="341" y="1584"/>
                  </a:lnTo>
                  <a:lnTo>
                    <a:pt x="351" y="1584"/>
                  </a:lnTo>
                  <a:lnTo>
                    <a:pt x="357" y="1582"/>
                  </a:lnTo>
                  <a:lnTo>
                    <a:pt x="364" y="1578"/>
                  </a:lnTo>
                  <a:lnTo>
                    <a:pt x="369" y="1574"/>
                  </a:lnTo>
                  <a:lnTo>
                    <a:pt x="373" y="1567"/>
                  </a:lnTo>
                  <a:lnTo>
                    <a:pt x="376" y="1558"/>
                  </a:lnTo>
                  <a:lnTo>
                    <a:pt x="377" y="1548"/>
                  </a:lnTo>
                  <a:lnTo>
                    <a:pt x="377" y="1538"/>
                  </a:lnTo>
                  <a:lnTo>
                    <a:pt x="377" y="1430"/>
                  </a:lnTo>
                  <a:lnTo>
                    <a:pt x="427" y="1430"/>
                  </a:lnTo>
                  <a:lnTo>
                    <a:pt x="427" y="1624"/>
                  </a:lnTo>
                  <a:lnTo>
                    <a:pt x="377" y="1624"/>
                  </a:lnTo>
                  <a:lnTo>
                    <a:pt x="377" y="1610"/>
                  </a:lnTo>
                  <a:lnTo>
                    <a:pt x="377" y="1610"/>
                  </a:lnTo>
                  <a:lnTo>
                    <a:pt x="368" y="1618"/>
                  </a:lnTo>
                  <a:lnTo>
                    <a:pt x="357" y="1624"/>
                  </a:lnTo>
                  <a:lnTo>
                    <a:pt x="345" y="1628"/>
                  </a:lnTo>
                  <a:lnTo>
                    <a:pt x="331" y="1630"/>
                  </a:lnTo>
                  <a:lnTo>
                    <a:pt x="331" y="1630"/>
                  </a:lnTo>
                  <a:lnTo>
                    <a:pt x="320" y="1628"/>
                  </a:lnTo>
                  <a:lnTo>
                    <a:pt x="310" y="1627"/>
                  </a:lnTo>
                  <a:lnTo>
                    <a:pt x="302" y="1624"/>
                  </a:lnTo>
                  <a:lnTo>
                    <a:pt x="294" y="1620"/>
                  </a:lnTo>
                  <a:lnTo>
                    <a:pt x="286" y="1615"/>
                  </a:lnTo>
                  <a:lnTo>
                    <a:pt x="280" y="1610"/>
                  </a:lnTo>
                  <a:lnTo>
                    <a:pt x="275" y="1603"/>
                  </a:lnTo>
                  <a:lnTo>
                    <a:pt x="271" y="1598"/>
                  </a:lnTo>
                  <a:lnTo>
                    <a:pt x="264" y="1583"/>
                  </a:lnTo>
                  <a:lnTo>
                    <a:pt x="260" y="1568"/>
                  </a:lnTo>
                  <a:lnTo>
                    <a:pt x="259" y="1554"/>
                  </a:lnTo>
                  <a:lnTo>
                    <a:pt x="258" y="1540"/>
                  </a:lnTo>
                  <a:lnTo>
                    <a:pt x="258" y="1540"/>
                  </a:lnTo>
                  <a:close/>
                  <a:moveTo>
                    <a:pt x="990" y="1624"/>
                  </a:moveTo>
                  <a:lnTo>
                    <a:pt x="942" y="1624"/>
                  </a:lnTo>
                  <a:lnTo>
                    <a:pt x="942" y="1430"/>
                  </a:lnTo>
                  <a:lnTo>
                    <a:pt x="990" y="1430"/>
                  </a:lnTo>
                  <a:lnTo>
                    <a:pt x="990" y="1447"/>
                  </a:lnTo>
                  <a:lnTo>
                    <a:pt x="990" y="1447"/>
                  </a:lnTo>
                  <a:lnTo>
                    <a:pt x="1001" y="1438"/>
                  </a:lnTo>
                  <a:lnTo>
                    <a:pt x="1011" y="1431"/>
                  </a:lnTo>
                  <a:lnTo>
                    <a:pt x="1024" y="1427"/>
                  </a:lnTo>
                  <a:lnTo>
                    <a:pt x="1039" y="1426"/>
                  </a:lnTo>
                  <a:lnTo>
                    <a:pt x="1039" y="1426"/>
                  </a:lnTo>
                  <a:lnTo>
                    <a:pt x="1055" y="1427"/>
                  </a:lnTo>
                  <a:lnTo>
                    <a:pt x="1063" y="1429"/>
                  </a:lnTo>
                  <a:lnTo>
                    <a:pt x="1070" y="1431"/>
                  </a:lnTo>
                  <a:lnTo>
                    <a:pt x="1076" y="1435"/>
                  </a:lnTo>
                  <a:lnTo>
                    <a:pt x="1082" y="1439"/>
                  </a:lnTo>
                  <a:lnTo>
                    <a:pt x="1087" y="1443"/>
                  </a:lnTo>
                  <a:lnTo>
                    <a:pt x="1092" y="1449"/>
                  </a:lnTo>
                  <a:lnTo>
                    <a:pt x="1096" y="1455"/>
                  </a:lnTo>
                  <a:lnTo>
                    <a:pt x="1100" y="1461"/>
                  </a:lnTo>
                  <a:lnTo>
                    <a:pt x="1106" y="1477"/>
                  </a:lnTo>
                  <a:lnTo>
                    <a:pt x="1109" y="1494"/>
                  </a:lnTo>
                  <a:lnTo>
                    <a:pt x="1109" y="1515"/>
                  </a:lnTo>
                  <a:lnTo>
                    <a:pt x="1109" y="1624"/>
                  </a:lnTo>
                  <a:lnTo>
                    <a:pt x="1062" y="1624"/>
                  </a:lnTo>
                  <a:lnTo>
                    <a:pt x="1062" y="1518"/>
                  </a:lnTo>
                  <a:lnTo>
                    <a:pt x="1062" y="1518"/>
                  </a:lnTo>
                  <a:lnTo>
                    <a:pt x="1062" y="1506"/>
                  </a:lnTo>
                  <a:lnTo>
                    <a:pt x="1060" y="1497"/>
                  </a:lnTo>
                  <a:lnTo>
                    <a:pt x="1058" y="1489"/>
                  </a:lnTo>
                  <a:lnTo>
                    <a:pt x="1054" y="1482"/>
                  </a:lnTo>
                  <a:lnTo>
                    <a:pt x="1048" y="1477"/>
                  </a:lnTo>
                  <a:lnTo>
                    <a:pt x="1043" y="1473"/>
                  </a:lnTo>
                  <a:lnTo>
                    <a:pt x="1035" y="1471"/>
                  </a:lnTo>
                  <a:lnTo>
                    <a:pt x="1027" y="1470"/>
                  </a:lnTo>
                  <a:lnTo>
                    <a:pt x="1027" y="1470"/>
                  </a:lnTo>
                  <a:lnTo>
                    <a:pt x="1019" y="1471"/>
                  </a:lnTo>
                  <a:lnTo>
                    <a:pt x="1011" y="1473"/>
                  </a:lnTo>
                  <a:lnTo>
                    <a:pt x="1005" y="1477"/>
                  </a:lnTo>
                  <a:lnTo>
                    <a:pt x="999" y="1482"/>
                  </a:lnTo>
                  <a:lnTo>
                    <a:pt x="995" y="1489"/>
                  </a:lnTo>
                  <a:lnTo>
                    <a:pt x="993" y="1497"/>
                  </a:lnTo>
                  <a:lnTo>
                    <a:pt x="991" y="1506"/>
                  </a:lnTo>
                  <a:lnTo>
                    <a:pt x="990" y="1518"/>
                  </a:lnTo>
                  <a:lnTo>
                    <a:pt x="990" y="1624"/>
                  </a:lnTo>
                  <a:close/>
                  <a:moveTo>
                    <a:pt x="517" y="1517"/>
                  </a:moveTo>
                  <a:lnTo>
                    <a:pt x="517" y="1624"/>
                  </a:lnTo>
                  <a:lnTo>
                    <a:pt x="469" y="1624"/>
                  </a:lnTo>
                  <a:lnTo>
                    <a:pt x="469" y="1430"/>
                  </a:lnTo>
                  <a:lnTo>
                    <a:pt x="517" y="1430"/>
                  </a:lnTo>
                  <a:lnTo>
                    <a:pt x="517" y="1517"/>
                  </a:lnTo>
                  <a:close/>
                  <a:moveTo>
                    <a:pt x="559" y="1373"/>
                  </a:moveTo>
                  <a:lnTo>
                    <a:pt x="607" y="1349"/>
                  </a:lnTo>
                  <a:lnTo>
                    <a:pt x="607" y="1514"/>
                  </a:lnTo>
                  <a:lnTo>
                    <a:pt x="607" y="1624"/>
                  </a:lnTo>
                  <a:lnTo>
                    <a:pt x="559" y="1624"/>
                  </a:lnTo>
                  <a:lnTo>
                    <a:pt x="559" y="1373"/>
                  </a:lnTo>
                  <a:close/>
                  <a:moveTo>
                    <a:pt x="760" y="1445"/>
                  </a:moveTo>
                  <a:lnTo>
                    <a:pt x="760" y="1445"/>
                  </a:lnTo>
                  <a:lnTo>
                    <a:pt x="751" y="1437"/>
                  </a:lnTo>
                  <a:lnTo>
                    <a:pt x="740" y="1430"/>
                  </a:lnTo>
                  <a:lnTo>
                    <a:pt x="729" y="1427"/>
                  </a:lnTo>
                  <a:lnTo>
                    <a:pt x="718" y="1426"/>
                  </a:lnTo>
                  <a:lnTo>
                    <a:pt x="718" y="1426"/>
                  </a:lnTo>
                  <a:lnTo>
                    <a:pt x="708" y="1426"/>
                  </a:lnTo>
                  <a:lnTo>
                    <a:pt x="700" y="1427"/>
                  </a:lnTo>
                  <a:lnTo>
                    <a:pt x="692" y="1430"/>
                  </a:lnTo>
                  <a:lnTo>
                    <a:pt x="686" y="1433"/>
                  </a:lnTo>
                  <a:lnTo>
                    <a:pt x="679" y="1437"/>
                  </a:lnTo>
                  <a:lnTo>
                    <a:pt x="672" y="1442"/>
                  </a:lnTo>
                  <a:lnTo>
                    <a:pt x="667" y="1447"/>
                  </a:lnTo>
                  <a:lnTo>
                    <a:pt x="662" y="1453"/>
                  </a:lnTo>
                  <a:lnTo>
                    <a:pt x="656" y="1459"/>
                  </a:lnTo>
                  <a:lnTo>
                    <a:pt x="652" y="1467"/>
                  </a:lnTo>
                  <a:lnTo>
                    <a:pt x="647" y="1485"/>
                  </a:lnTo>
                  <a:lnTo>
                    <a:pt x="643" y="1503"/>
                  </a:lnTo>
                  <a:lnTo>
                    <a:pt x="642" y="1526"/>
                  </a:lnTo>
                  <a:lnTo>
                    <a:pt x="642" y="1526"/>
                  </a:lnTo>
                  <a:lnTo>
                    <a:pt x="643" y="1548"/>
                  </a:lnTo>
                  <a:lnTo>
                    <a:pt x="646" y="1570"/>
                  </a:lnTo>
                  <a:lnTo>
                    <a:pt x="652" y="1587"/>
                  </a:lnTo>
                  <a:lnTo>
                    <a:pt x="656" y="1595"/>
                  </a:lnTo>
                  <a:lnTo>
                    <a:pt x="662" y="1602"/>
                  </a:lnTo>
                  <a:lnTo>
                    <a:pt x="666" y="1608"/>
                  </a:lnTo>
                  <a:lnTo>
                    <a:pt x="672" y="1614"/>
                  </a:lnTo>
                  <a:lnTo>
                    <a:pt x="678" y="1618"/>
                  </a:lnTo>
                  <a:lnTo>
                    <a:pt x="684" y="1622"/>
                  </a:lnTo>
                  <a:lnTo>
                    <a:pt x="692" y="1626"/>
                  </a:lnTo>
                  <a:lnTo>
                    <a:pt x="700" y="1627"/>
                  </a:lnTo>
                  <a:lnTo>
                    <a:pt x="708" y="1628"/>
                  </a:lnTo>
                  <a:lnTo>
                    <a:pt x="716" y="1630"/>
                  </a:lnTo>
                  <a:lnTo>
                    <a:pt x="716" y="1630"/>
                  </a:lnTo>
                  <a:lnTo>
                    <a:pt x="728" y="1628"/>
                  </a:lnTo>
                  <a:lnTo>
                    <a:pt x="740" y="1624"/>
                  </a:lnTo>
                  <a:lnTo>
                    <a:pt x="751" y="1619"/>
                  </a:lnTo>
                  <a:lnTo>
                    <a:pt x="760" y="1610"/>
                  </a:lnTo>
                  <a:lnTo>
                    <a:pt x="760" y="1624"/>
                  </a:lnTo>
                  <a:lnTo>
                    <a:pt x="808" y="1624"/>
                  </a:lnTo>
                  <a:lnTo>
                    <a:pt x="808" y="1349"/>
                  </a:lnTo>
                  <a:lnTo>
                    <a:pt x="760" y="1373"/>
                  </a:lnTo>
                  <a:lnTo>
                    <a:pt x="760" y="1445"/>
                  </a:lnTo>
                  <a:close/>
                  <a:moveTo>
                    <a:pt x="727" y="1584"/>
                  </a:moveTo>
                  <a:lnTo>
                    <a:pt x="727" y="1584"/>
                  </a:lnTo>
                  <a:lnTo>
                    <a:pt x="720" y="1584"/>
                  </a:lnTo>
                  <a:lnTo>
                    <a:pt x="714" y="1582"/>
                  </a:lnTo>
                  <a:lnTo>
                    <a:pt x="708" y="1579"/>
                  </a:lnTo>
                  <a:lnTo>
                    <a:pt x="702" y="1574"/>
                  </a:lnTo>
                  <a:lnTo>
                    <a:pt x="698" y="1566"/>
                  </a:lnTo>
                  <a:lnTo>
                    <a:pt x="694" y="1555"/>
                  </a:lnTo>
                  <a:lnTo>
                    <a:pt x="691" y="1542"/>
                  </a:lnTo>
                  <a:lnTo>
                    <a:pt x="690" y="1525"/>
                  </a:lnTo>
                  <a:lnTo>
                    <a:pt x="690" y="1525"/>
                  </a:lnTo>
                  <a:lnTo>
                    <a:pt x="691" y="1510"/>
                  </a:lnTo>
                  <a:lnTo>
                    <a:pt x="694" y="1497"/>
                  </a:lnTo>
                  <a:lnTo>
                    <a:pt x="698" y="1487"/>
                  </a:lnTo>
                  <a:lnTo>
                    <a:pt x="702" y="1481"/>
                  </a:lnTo>
                  <a:lnTo>
                    <a:pt x="707" y="1475"/>
                  </a:lnTo>
                  <a:lnTo>
                    <a:pt x="714" y="1473"/>
                  </a:lnTo>
                  <a:lnTo>
                    <a:pt x="720" y="1471"/>
                  </a:lnTo>
                  <a:lnTo>
                    <a:pt x="725" y="1470"/>
                  </a:lnTo>
                  <a:lnTo>
                    <a:pt x="725" y="1470"/>
                  </a:lnTo>
                  <a:lnTo>
                    <a:pt x="732" y="1471"/>
                  </a:lnTo>
                  <a:lnTo>
                    <a:pt x="739" y="1473"/>
                  </a:lnTo>
                  <a:lnTo>
                    <a:pt x="743" y="1474"/>
                  </a:lnTo>
                  <a:lnTo>
                    <a:pt x="748" y="1477"/>
                  </a:lnTo>
                  <a:lnTo>
                    <a:pt x="755" y="1483"/>
                  </a:lnTo>
                  <a:lnTo>
                    <a:pt x="760" y="1489"/>
                  </a:lnTo>
                  <a:lnTo>
                    <a:pt x="760" y="1566"/>
                  </a:lnTo>
                  <a:lnTo>
                    <a:pt x="760" y="1566"/>
                  </a:lnTo>
                  <a:lnTo>
                    <a:pt x="755" y="1572"/>
                  </a:lnTo>
                  <a:lnTo>
                    <a:pt x="748" y="1579"/>
                  </a:lnTo>
                  <a:lnTo>
                    <a:pt x="743" y="1582"/>
                  </a:lnTo>
                  <a:lnTo>
                    <a:pt x="739" y="1583"/>
                  </a:lnTo>
                  <a:lnTo>
                    <a:pt x="733" y="1584"/>
                  </a:lnTo>
                  <a:lnTo>
                    <a:pt x="727" y="1584"/>
                  </a:lnTo>
                  <a:lnTo>
                    <a:pt x="727" y="1584"/>
                  </a:lnTo>
                  <a:close/>
                  <a:moveTo>
                    <a:pt x="1807" y="1426"/>
                  </a:moveTo>
                  <a:lnTo>
                    <a:pt x="1807" y="1426"/>
                  </a:lnTo>
                  <a:lnTo>
                    <a:pt x="1795" y="1427"/>
                  </a:lnTo>
                  <a:lnTo>
                    <a:pt x="1784" y="1431"/>
                  </a:lnTo>
                  <a:lnTo>
                    <a:pt x="1774" y="1437"/>
                  </a:lnTo>
                  <a:lnTo>
                    <a:pt x="1765" y="1445"/>
                  </a:lnTo>
                  <a:lnTo>
                    <a:pt x="1765" y="1354"/>
                  </a:lnTo>
                  <a:lnTo>
                    <a:pt x="1715" y="1378"/>
                  </a:lnTo>
                  <a:lnTo>
                    <a:pt x="1715" y="1624"/>
                  </a:lnTo>
                  <a:lnTo>
                    <a:pt x="1765" y="1624"/>
                  </a:lnTo>
                  <a:lnTo>
                    <a:pt x="1765" y="1611"/>
                  </a:lnTo>
                  <a:lnTo>
                    <a:pt x="1765" y="1611"/>
                  </a:lnTo>
                  <a:lnTo>
                    <a:pt x="1774" y="1619"/>
                  </a:lnTo>
                  <a:lnTo>
                    <a:pt x="1784" y="1624"/>
                  </a:lnTo>
                  <a:lnTo>
                    <a:pt x="1795" y="1628"/>
                  </a:lnTo>
                  <a:lnTo>
                    <a:pt x="1808" y="1630"/>
                  </a:lnTo>
                  <a:lnTo>
                    <a:pt x="1808" y="1630"/>
                  </a:lnTo>
                  <a:lnTo>
                    <a:pt x="1816" y="1628"/>
                  </a:lnTo>
                  <a:lnTo>
                    <a:pt x="1824" y="1627"/>
                  </a:lnTo>
                  <a:lnTo>
                    <a:pt x="1832" y="1626"/>
                  </a:lnTo>
                  <a:lnTo>
                    <a:pt x="1840" y="1622"/>
                  </a:lnTo>
                  <a:lnTo>
                    <a:pt x="1847" y="1619"/>
                  </a:lnTo>
                  <a:lnTo>
                    <a:pt x="1852" y="1614"/>
                  </a:lnTo>
                  <a:lnTo>
                    <a:pt x="1859" y="1608"/>
                  </a:lnTo>
                  <a:lnTo>
                    <a:pt x="1864" y="1602"/>
                  </a:lnTo>
                  <a:lnTo>
                    <a:pt x="1868" y="1595"/>
                  </a:lnTo>
                  <a:lnTo>
                    <a:pt x="1872" y="1587"/>
                  </a:lnTo>
                  <a:lnTo>
                    <a:pt x="1875" y="1579"/>
                  </a:lnTo>
                  <a:lnTo>
                    <a:pt x="1879" y="1570"/>
                  </a:lnTo>
                  <a:lnTo>
                    <a:pt x="1881" y="1548"/>
                  </a:lnTo>
                  <a:lnTo>
                    <a:pt x="1883" y="1526"/>
                  </a:lnTo>
                  <a:lnTo>
                    <a:pt x="1883" y="1526"/>
                  </a:lnTo>
                  <a:lnTo>
                    <a:pt x="1881" y="1503"/>
                  </a:lnTo>
                  <a:lnTo>
                    <a:pt x="1878" y="1485"/>
                  </a:lnTo>
                  <a:lnTo>
                    <a:pt x="1872" y="1467"/>
                  </a:lnTo>
                  <a:lnTo>
                    <a:pt x="1867" y="1459"/>
                  </a:lnTo>
                  <a:lnTo>
                    <a:pt x="1863" y="1453"/>
                  </a:lnTo>
                  <a:lnTo>
                    <a:pt x="1858" y="1447"/>
                  </a:lnTo>
                  <a:lnTo>
                    <a:pt x="1852" y="1442"/>
                  </a:lnTo>
                  <a:lnTo>
                    <a:pt x="1846" y="1437"/>
                  </a:lnTo>
                  <a:lnTo>
                    <a:pt x="1839" y="1433"/>
                  </a:lnTo>
                  <a:lnTo>
                    <a:pt x="1831" y="1430"/>
                  </a:lnTo>
                  <a:lnTo>
                    <a:pt x="1824" y="1427"/>
                  </a:lnTo>
                  <a:lnTo>
                    <a:pt x="1815" y="1426"/>
                  </a:lnTo>
                  <a:lnTo>
                    <a:pt x="1807" y="1426"/>
                  </a:lnTo>
                  <a:lnTo>
                    <a:pt x="1807" y="1426"/>
                  </a:lnTo>
                  <a:close/>
                  <a:moveTo>
                    <a:pt x="1798" y="1470"/>
                  </a:moveTo>
                  <a:lnTo>
                    <a:pt x="1798" y="1470"/>
                  </a:lnTo>
                  <a:lnTo>
                    <a:pt x="1804" y="1471"/>
                  </a:lnTo>
                  <a:lnTo>
                    <a:pt x="1811" y="1473"/>
                  </a:lnTo>
                  <a:lnTo>
                    <a:pt x="1818" y="1477"/>
                  </a:lnTo>
                  <a:lnTo>
                    <a:pt x="1823" y="1482"/>
                  </a:lnTo>
                  <a:lnTo>
                    <a:pt x="1827" y="1490"/>
                  </a:lnTo>
                  <a:lnTo>
                    <a:pt x="1831" y="1499"/>
                  </a:lnTo>
                  <a:lnTo>
                    <a:pt x="1834" y="1511"/>
                  </a:lnTo>
                  <a:lnTo>
                    <a:pt x="1834" y="1525"/>
                  </a:lnTo>
                  <a:lnTo>
                    <a:pt x="1834" y="1525"/>
                  </a:lnTo>
                  <a:lnTo>
                    <a:pt x="1834" y="1539"/>
                  </a:lnTo>
                  <a:lnTo>
                    <a:pt x="1832" y="1551"/>
                  </a:lnTo>
                  <a:lnTo>
                    <a:pt x="1830" y="1562"/>
                  </a:lnTo>
                  <a:lnTo>
                    <a:pt x="1826" y="1570"/>
                  </a:lnTo>
                  <a:lnTo>
                    <a:pt x="1820" y="1576"/>
                  </a:lnTo>
                  <a:lnTo>
                    <a:pt x="1815" y="1582"/>
                  </a:lnTo>
                  <a:lnTo>
                    <a:pt x="1807" y="1584"/>
                  </a:lnTo>
                  <a:lnTo>
                    <a:pt x="1799" y="1584"/>
                  </a:lnTo>
                  <a:lnTo>
                    <a:pt x="1799" y="1584"/>
                  </a:lnTo>
                  <a:lnTo>
                    <a:pt x="1792" y="1584"/>
                  </a:lnTo>
                  <a:lnTo>
                    <a:pt x="1787" y="1583"/>
                  </a:lnTo>
                  <a:lnTo>
                    <a:pt x="1777" y="1578"/>
                  </a:lnTo>
                  <a:lnTo>
                    <a:pt x="1769" y="1572"/>
                  </a:lnTo>
                  <a:lnTo>
                    <a:pt x="1765" y="1567"/>
                  </a:lnTo>
                  <a:lnTo>
                    <a:pt x="1765" y="1490"/>
                  </a:lnTo>
                  <a:lnTo>
                    <a:pt x="1765" y="1490"/>
                  </a:lnTo>
                  <a:lnTo>
                    <a:pt x="1771" y="1482"/>
                  </a:lnTo>
                  <a:lnTo>
                    <a:pt x="1779" y="1475"/>
                  </a:lnTo>
                  <a:lnTo>
                    <a:pt x="1788" y="1471"/>
                  </a:lnTo>
                  <a:lnTo>
                    <a:pt x="1798" y="1470"/>
                  </a:lnTo>
                  <a:lnTo>
                    <a:pt x="1798" y="1470"/>
                  </a:lnTo>
                  <a:close/>
                  <a:moveTo>
                    <a:pt x="1261" y="1443"/>
                  </a:moveTo>
                  <a:lnTo>
                    <a:pt x="1261" y="1443"/>
                  </a:lnTo>
                  <a:lnTo>
                    <a:pt x="1252" y="1437"/>
                  </a:lnTo>
                  <a:lnTo>
                    <a:pt x="1242" y="1430"/>
                  </a:lnTo>
                  <a:lnTo>
                    <a:pt x="1230" y="1427"/>
                  </a:lnTo>
                  <a:lnTo>
                    <a:pt x="1218" y="1426"/>
                  </a:lnTo>
                  <a:lnTo>
                    <a:pt x="1218" y="1426"/>
                  </a:lnTo>
                  <a:lnTo>
                    <a:pt x="1209" y="1426"/>
                  </a:lnTo>
                  <a:lnTo>
                    <a:pt x="1201" y="1427"/>
                  </a:lnTo>
                  <a:lnTo>
                    <a:pt x="1195" y="1430"/>
                  </a:lnTo>
                  <a:lnTo>
                    <a:pt x="1187" y="1433"/>
                  </a:lnTo>
                  <a:lnTo>
                    <a:pt x="1180" y="1437"/>
                  </a:lnTo>
                  <a:lnTo>
                    <a:pt x="1173" y="1442"/>
                  </a:lnTo>
                  <a:lnTo>
                    <a:pt x="1168" y="1447"/>
                  </a:lnTo>
                  <a:lnTo>
                    <a:pt x="1163" y="1453"/>
                  </a:lnTo>
                  <a:lnTo>
                    <a:pt x="1159" y="1459"/>
                  </a:lnTo>
                  <a:lnTo>
                    <a:pt x="1153" y="1467"/>
                  </a:lnTo>
                  <a:lnTo>
                    <a:pt x="1148" y="1485"/>
                  </a:lnTo>
                  <a:lnTo>
                    <a:pt x="1144" y="1503"/>
                  </a:lnTo>
                  <a:lnTo>
                    <a:pt x="1143" y="1526"/>
                  </a:lnTo>
                  <a:lnTo>
                    <a:pt x="1143" y="1526"/>
                  </a:lnTo>
                  <a:lnTo>
                    <a:pt x="1144" y="1548"/>
                  </a:lnTo>
                  <a:lnTo>
                    <a:pt x="1148" y="1568"/>
                  </a:lnTo>
                  <a:lnTo>
                    <a:pt x="1153" y="1587"/>
                  </a:lnTo>
                  <a:lnTo>
                    <a:pt x="1157" y="1595"/>
                  </a:lnTo>
                  <a:lnTo>
                    <a:pt x="1163" y="1602"/>
                  </a:lnTo>
                  <a:lnTo>
                    <a:pt x="1168" y="1608"/>
                  </a:lnTo>
                  <a:lnTo>
                    <a:pt x="1173" y="1614"/>
                  </a:lnTo>
                  <a:lnTo>
                    <a:pt x="1179" y="1618"/>
                  </a:lnTo>
                  <a:lnTo>
                    <a:pt x="1185" y="1622"/>
                  </a:lnTo>
                  <a:lnTo>
                    <a:pt x="1193" y="1626"/>
                  </a:lnTo>
                  <a:lnTo>
                    <a:pt x="1201" y="1627"/>
                  </a:lnTo>
                  <a:lnTo>
                    <a:pt x="1209" y="1628"/>
                  </a:lnTo>
                  <a:lnTo>
                    <a:pt x="1217" y="1630"/>
                  </a:lnTo>
                  <a:lnTo>
                    <a:pt x="1217" y="1630"/>
                  </a:lnTo>
                  <a:lnTo>
                    <a:pt x="1229" y="1628"/>
                  </a:lnTo>
                  <a:lnTo>
                    <a:pt x="1241" y="1624"/>
                  </a:lnTo>
                  <a:lnTo>
                    <a:pt x="1252" y="1619"/>
                  </a:lnTo>
                  <a:lnTo>
                    <a:pt x="1261" y="1610"/>
                  </a:lnTo>
                  <a:lnTo>
                    <a:pt x="1261" y="1615"/>
                  </a:lnTo>
                  <a:lnTo>
                    <a:pt x="1261" y="1615"/>
                  </a:lnTo>
                  <a:lnTo>
                    <a:pt x="1261" y="1623"/>
                  </a:lnTo>
                  <a:lnTo>
                    <a:pt x="1261" y="1631"/>
                  </a:lnTo>
                  <a:lnTo>
                    <a:pt x="1258" y="1640"/>
                  </a:lnTo>
                  <a:lnTo>
                    <a:pt x="1254" y="1648"/>
                  </a:lnTo>
                  <a:lnTo>
                    <a:pt x="1250" y="1652"/>
                  </a:lnTo>
                  <a:lnTo>
                    <a:pt x="1246" y="1655"/>
                  </a:lnTo>
                  <a:lnTo>
                    <a:pt x="1241" y="1657"/>
                  </a:lnTo>
                  <a:lnTo>
                    <a:pt x="1236" y="1660"/>
                  </a:lnTo>
                  <a:lnTo>
                    <a:pt x="1220" y="1664"/>
                  </a:lnTo>
                  <a:lnTo>
                    <a:pt x="1200" y="1667"/>
                  </a:lnTo>
                  <a:lnTo>
                    <a:pt x="1197" y="1667"/>
                  </a:lnTo>
                  <a:lnTo>
                    <a:pt x="1214" y="1704"/>
                  </a:lnTo>
                  <a:lnTo>
                    <a:pt x="1216" y="1704"/>
                  </a:lnTo>
                  <a:lnTo>
                    <a:pt x="1216" y="1704"/>
                  </a:lnTo>
                  <a:lnTo>
                    <a:pt x="1237" y="1703"/>
                  </a:lnTo>
                  <a:lnTo>
                    <a:pt x="1248" y="1700"/>
                  </a:lnTo>
                  <a:lnTo>
                    <a:pt x="1257" y="1697"/>
                  </a:lnTo>
                  <a:lnTo>
                    <a:pt x="1265" y="1693"/>
                  </a:lnTo>
                  <a:lnTo>
                    <a:pt x="1273" y="1689"/>
                  </a:lnTo>
                  <a:lnTo>
                    <a:pt x="1280" y="1685"/>
                  </a:lnTo>
                  <a:lnTo>
                    <a:pt x="1286" y="1679"/>
                  </a:lnTo>
                  <a:lnTo>
                    <a:pt x="1292" y="1672"/>
                  </a:lnTo>
                  <a:lnTo>
                    <a:pt x="1297" y="1665"/>
                  </a:lnTo>
                  <a:lnTo>
                    <a:pt x="1301" y="1657"/>
                  </a:lnTo>
                  <a:lnTo>
                    <a:pt x="1303" y="1649"/>
                  </a:lnTo>
                  <a:lnTo>
                    <a:pt x="1306" y="1640"/>
                  </a:lnTo>
                  <a:lnTo>
                    <a:pt x="1307" y="1630"/>
                  </a:lnTo>
                  <a:lnTo>
                    <a:pt x="1309" y="1607"/>
                  </a:lnTo>
                  <a:lnTo>
                    <a:pt x="1309" y="1430"/>
                  </a:lnTo>
                  <a:lnTo>
                    <a:pt x="1261" y="1430"/>
                  </a:lnTo>
                  <a:lnTo>
                    <a:pt x="1261" y="1443"/>
                  </a:lnTo>
                  <a:close/>
                  <a:moveTo>
                    <a:pt x="1261" y="1489"/>
                  </a:moveTo>
                  <a:lnTo>
                    <a:pt x="1261" y="1566"/>
                  </a:lnTo>
                  <a:lnTo>
                    <a:pt x="1261" y="1566"/>
                  </a:lnTo>
                  <a:lnTo>
                    <a:pt x="1256" y="1572"/>
                  </a:lnTo>
                  <a:lnTo>
                    <a:pt x="1248" y="1579"/>
                  </a:lnTo>
                  <a:lnTo>
                    <a:pt x="1238" y="1583"/>
                  </a:lnTo>
                  <a:lnTo>
                    <a:pt x="1233" y="1584"/>
                  </a:lnTo>
                  <a:lnTo>
                    <a:pt x="1228" y="1584"/>
                  </a:lnTo>
                  <a:lnTo>
                    <a:pt x="1228" y="1584"/>
                  </a:lnTo>
                  <a:lnTo>
                    <a:pt x="1221" y="1584"/>
                  </a:lnTo>
                  <a:lnTo>
                    <a:pt x="1214" y="1582"/>
                  </a:lnTo>
                  <a:lnTo>
                    <a:pt x="1209" y="1579"/>
                  </a:lnTo>
                  <a:lnTo>
                    <a:pt x="1203" y="1574"/>
                  </a:lnTo>
                  <a:lnTo>
                    <a:pt x="1199" y="1566"/>
                  </a:lnTo>
                  <a:lnTo>
                    <a:pt x="1195" y="1555"/>
                  </a:lnTo>
                  <a:lnTo>
                    <a:pt x="1192" y="1542"/>
                  </a:lnTo>
                  <a:lnTo>
                    <a:pt x="1191" y="1525"/>
                  </a:lnTo>
                  <a:lnTo>
                    <a:pt x="1191" y="1525"/>
                  </a:lnTo>
                  <a:lnTo>
                    <a:pt x="1192" y="1510"/>
                  </a:lnTo>
                  <a:lnTo>
                    <a:pt x="1195" y="1497"/>
                  </a:lnTo>
                  <a:lnTo>
                    <a:pt x="1199" y="1487"/>
                  </a:lnTo>
                  <a:lnTo>
                    <a:pt x="1203" y="1481"/>
                  </a:lnTo>
                  <a:lnTo>
                    <a:pt x="1209" y="1475"/>
                  </a:lnTo>
                  <a:lnTo>
                    <a:pt x="1214" y="1473"/>
                  </a:lnTo>
                  <a:lnTo>
                    <a:pt x="1221" y="1471"/>
                  </a:lnTo>
                  <a:lnTo>
                    <a:pt x="1228" y="1470"/>
                  </a:lnTo>
                  <a:lnTo>
                    <a:pt x="1228" y="1470"/>
                  </a:lnTo>
                  <a:lnTo>
                    <a:pt x="1233" y="1470"/>
                  </a:lnTo>
                  <a:lnTo>
                    <a:pt x="1240" y="1471"/>
                  </a:lnTo>
                  <a:lnTo>
                    <a:pt x="1245" y="1474"/>
                  </a:lnTo>
                  <a:lnTo>
                    <a:pt x="1249" y="1477"/>
                  </a:lnTo>
                  <a:lnTo>
                    <a:pt x="1256" y="1483"/>
                  </a:lnTo>
                  <a:lnTo>
                    <a:pt x="1261" y="1489"/>
                  </a:lnTo>
                  <a:lnTo>
                    <a:pt x="1261" y="1489"/>
                  </a:lnTo>
                  <a:close/>
                  <a:moveTo>
                    <a:pt x="1459" y="1478"/>
                  </a:moveTo>
                  <a:lnTo>
                    <a:pt x="1459" y="1478"/>
                  </a:lnTo>
                  <a:lnTo>
                    <a:pt x="1470" y="1473"/>
                  </a:lnTo>
                  <a:lnTo>
                    <a:pt x="1482" y="1469"/>
                  </a:lnTo>
                  <a:lnTo>
                    <a:pt x="1493" y="1466"/>
                  </a:lnTo>
                  <a:lnTo>
                    <a:pt x="1508" y="1465"/>
                  </a:lnTo>
                  <a:lnTo>
                    <a:pt x="1508" y="1465"/>
                  </a:lnTo>
                  <a:lnTo>
                    <a:pt x="1516" y="1465"/>
                  </a:lnTo>
                  <a:lnTo>
                    <a:pt x="1523" y="1466"/>
                  </a:lnTo>
                  <a:lnTo>
                    <a:pt x="1529" y="1469"/>
                  </a:lnTo>
                  <a:lnTo>
                    <a:pt x="1535" y="1471"/>
                  </a:lnTo>
                  <a:lnTo>
                    <a:pt x="1537" y="1475"/>
                  </a:lnTo>
                  <a:lnTo>
                    <a:pt x="1541" y="1481"/>
                  </a:lnTo>
                  <a:lnTo>
                    <a:pt x="1543" y="1486"/>
                  </a:lnTo>
                  <a:lnTo>
                    <a:pt x="1543" y="1493"/>
                  </a:lnTo>
                  <a:lnTo>
                    <a:pt x="1543" y="1506"/>
                  </a:lnTo>
                  <a:lnTo>
                    <a:pt x="1543" y="1506"/>
                  </a:lnTo>
                  <a:lnTo>
                    <a:pt x="1533" y="1502"/>
                  </a:lnTo>
                  <a:lnTo>
                    <a:pt x="1524" y="1499"/>
                  </a:lnTo>
                  <a:lnTo>
                    <a:pt x="1512" y="1498"/>
                  </a:lnTo>
                  <a:lnTo>
                    <a:pt x="1501" y="1497"/>
                  </a:lnTo>
                  <a:lnTo>
                    <a:pt x="1501" y="1497"/>
                  </a:lnTo>
                  <a:lnTo>
                    <a:pt x="1488" y="1498"/>
                  </a:lnTo>
                  <a:lnTo>
                    <a:pt x="1475" y="1501"/>
                  </a:lnTo>
                  <a:lnTo>
                    <a:pt x="1462" y="1505"/>
                  </a:lnTo>
                  <a:lnTo>
                    <a:pt x="1450" y="1511"/>
                  </a:lnTo>
                  <a:lnTo>
                    <a:pt x="1439" y="1519"/>
                  </a:lnTo>
                  <a:lnTo>
                    <a:pt x="1435" y="1525"/>
                  </a:lnTo>
                  <a:lnTo>
                    <a:pt x="1431" y="1531"/>
                  </a:lnTo>
                  <a:lnTo>
                    <a:pt x="1428" y="1536"/>
                  </a:lnTo>
                  <a:lnTo>
                    <a:pt x="1426" y="1544"/>
                  </a:lnTo>
                  <a:lnTo>
                    <a:pt x="1424" y="1552"/>
                  </a:lnTo>
                  <a:lnTo>
                    <a:pt x="1424" y="1560"/>
                  </a:lnTo>
                  <a:lnTo>
                    <a:pt x="1424" y="1560"/>
                  </a:lnTo>
                  <a:lnTo>
                    <a:pt x="1424" y="1570"/>
                  </a:lnTo>
                  <a:lnTo>
                    <a:pt x="1426" y="1578"/>
                  </a:lnTo>
                  <a:lnTo>
                    <a:pt x="1428" y="1586"/>
                  </a:lnTo>
                  <a:lnTo>
                    <a:pt x="1431" y="1592"/>
                  </a:lnTo>
                  <a:lnTo>
                    <a:pt x="1434" y="1599"/>
                  </a:lnTo>
                  <a:lnTo>
                    <a:pt x="1438" y="1604"/>
                  </a:lnTo>
                  <a:lnTo>
                    <a:pt x="1448" y="1614"/>
                  </a:lnTo>
                  <a:lnTo>
                    <a:pt x="1459" y="1620"/>
                  </a:lnTo>
                  <a:lnTo>
                    <a:pt x="1471" y="1626"/>
                  </a:lnTo>
                  <a:lnTo>
                    <a:pt x="1484" y="1628"/>
                  </a:lnTo>
                  <a:lnTo>
                    <a:pt x="1496" y="1630"/>
                  </a:lnTo>
                  <a:lnTo>
                    <a:pt x="1496" y="1630"/>
                  </a:lnTo>
                  <a:lnTo>
                    <a:pt x="1507" y="1628"/>
                  </a:lnTo>
                  <a:lnTo>
                    <a:pt x="1520" y="1624"/>
                  </a:lnTo>
                  <a:lnTo>
                    <a:pt x="1532" y="1619"/>
                  </a:lnTo>
                  <a:lnTo>
                    <a:pt x="1537" y="1614"/>
                  </a:lnTo>
                  <a:lnTo>
                    <a:pt x="1543" y="1608"/>
                  </a:lnTo>
                  <a:lnTo>
                    <a:pt x="1543" y="1624"/>
                  </a:lnTo>
                  <a:lnTo>
                    <a:pt x="1590" y="1624"/>
                  </a:lnTo>
                  <a:lnTo>
                    <a:pt x="1590" y="1494"/>
                  </a:lnTo>
                  <a:lnTo>
                    <a:pt x="1590" y="1494"/>
                  </a:lnTo>
                  <a:lnTo>
                    <a:pt x="1589" y="1479"/>
                  </a:lnTo>
                  <a:lnTo>
                    <a:pt x="1585" y="1466"/>
                  </a:lnTo>
                  <a:lnTo>
                    <a:pt x="1579" y="1454"/>
                  </a:lnTo>
                  <a:lnTo>
                    <a:pt x="1571" y="1445"/>
                  </a:lnTo>
                  <a:lnTo>
                    <a:pt x="1559" y="1437"/>
                  </a:lnTo>
                  <a:lnTo>
                    <a:pt x="1545" y="1431"/>
                  </a:lnTo>
                  <a:lnTo>
                    <a:pt x="1529" y="1427"/>
                  </a:lnTo>
                  <a:lnTo>
                    <a:pt x="1512" y="1426"/>
                  </a:lnTo>
                  <a:lnTo>
                    <a:pt x="1512" y="1426"/>
                  </a:lnTo>
                  <a:lnTo>
                    <a:pt x="1493" y="1427"/>
                  </a:lnTo>
                  <a:lnTo>
                    <a:pt x="1475" y="1431"/>
                  </a:lnTo>
                  <a:lnTo>
                    <a:pt x="1456" y="1437"/>
                  </a:lnTo>
                  <a:lnTo>
                    <a:pt x="1440" y="1445"/>
                  </a:lnTo>
                  <a:lnTo>
                    <a:pt x="1459" y="1478"/>
                  </a:lnTo>
                  <a:close/>
                  <a:moveTo>
                    <a:pt x="1472" y="1560"/>
                  </a:moveTo>
                  <a:lnTo>
                    <a:pt x="1472" y="1560"/>
                  </a:lnTo>
                  <a:lnTo>
                    <a:pt x="1472" y="1554"/>
                  </a:lnTo>
                  <a:lnTo>
                    <a:pt x="1475" y="1548"/>
                  </a:lnTo>
                  <a:lnTo>
                    <a:pt x="1478" y="1544"/>
                  </a:lnTo>
                  <a:lnTo>
                    <a:pt x="1482" y="1540"/>
                  </a:lnTo>
                  <a:lnTo>
                    <a:pt x="1486" y="1536"/>
                  </a:lnTo>
                  <a:lnTo>
                    <a:pt x="1491" y="1535"/>
                  </a:lnTo>
                  <a:lnTo>
                    <a:pt x="1497" y="1534"/>
                  </a:lnTo>
                  <a:lnTo>
                    <a:pt x="1505" y="1533"/>
                  </a:lnTo>
                  <a:lnTo>
                    <a:pt x="1505" y="1533"/>
                  </a:lnTo>
                  <a:lnTo>
                    <a:pt x="1516" y="1534"/>
                  </a:lnTo>
                  <a:lnTo>
                    <a:pt x="1525" y="1535"/>
                  </a:lnTo>
                  <a:lnTo>
                    <a:pt x="1535" y="1538"/>
                  </a:lnTo>
                  <a:lnTo>
                    <a:pt x="1543" y="1542"/>
                  </a:lnTo>
                  <a:lnTo>
                    <a:pt x="1543" y="1568"/>
                  </a:lnTo>
                  <a:lnTo>
                    <a:pt x="1543" y="1568"/>
                  </a:lnTo>
                  <a:lnTo>
                    <a:pt x="1537" y="1576"/>
                  </a:lnTo>
                  <a:lnTo>
                    <a:pt x="1528" y="1583"/>
                  </a:lnTo>
                  <a:lnTo>
                    <a:pt x="1517" y="1587"/>
                  </a:lnTo>
                  <a:lnTo>
                    <a:pt x="1512" y="1588"/>
                  </a:lnTo>
                  <a:lnTo>
                    <a:pt x="1505" y="1590"/>
                  </a:lnTo>
                  <a:lnTo>
                    <a:pt x="1505" y="1590"/>
                  </a:lnTo>
                  <a:lnTo>
                    <a:pt x="1497" y="1588"/>
                  </a:lnTo>
                  <a:lnTo>
                    <a:pt x="1491" y="1587"/>
                  </a:lnTo>
                  <a:lnTo>
                    <a:pt x="1486" y="1584"/>
                  </a:lnTo>
                  <a:lnTo>
                    <a:pt x="1482" y="1582"/>
                  </a:lnTo>
                  <a:lnTo>
                    <a:pt x="1478" y="1578"/>
                  </a:lnTo>
                  <a:lnTo>
                    <a:pt x="1475" y="1572"/>
                  </a:lnTo>
                  <a:lnTo>
                    <a:pt x="1472" y="1567"/>
                  </a:lnTo>
                  <a:lnTo>
                    <a:pt x="1472" y="1560"/>
                  </a:lnTo>
                  <a:lnTo>
                    <a:pt x="1472" y="1560"/>
                  </a:lnTo>
                  <a:close/>
                  <a:moveTo>
                    <a:pt x="2037" y="1568"/>
                  </a:moveTo>
                  <a:lnTo>
                    <a:pt x="2037" y="1568"/>
                  </a:lnTo>
                  <a:lnTo>
                    <a:pt x="2030" y="1574"/>
                  </a:lnTo>
                  <a:lnTo>
                    <a:pt x="2021" y="1579"/>
                  </a:lnTo>
                  <a:lnTo>
                    <a:pt x="2012" y="1583"/>
                  </a:lnTo>
                  <a:lnTo>
                    <a:pt x="1998" y="1584"/>
                  </a:lnTo>
                  <a:lnTo>
                    <a:pt x="1998" y="1584"/>
                  </a:lnTo>
                  <a:lnTo>
                    <a:pt x="1989" y="1583"/>
                  </a:lnTo>
                  <a:lnTo>
                    <a:pt x="1981" y="1582"/>
                  </a:lnTo>
                  <a:lnTo>
                    <a:pt x="1974" y="1578"/>
                  </a:lnTo>
                  <a:lnTo>
                    <a:pt x="1968" y="1574"/>
                  </a:lnTo>
                  <a:lnTo>
                    <a:pt x="1963" y="1566"/>
                  </a:lnTo>
                  <a:lnTo>
                    <a:pt x="1959" y="1555"/>
                  </a:lnTo>
                  <a:lnTo>
                    <a:pt x="1956" y="1542"/>
                  </a:lnTo>
                  <a:lnTo>
                    <a:pt x="2075" y="1542"/>
                  </a:lnTo>
                  <a:lnTo>
                    <a:pt x="2075" y="1542"/>
                  </a:lnTo>
                  <a:lnTo>
                    <a:pt x="2075" y="1527"/>
                  </a:lnTo>
                  <a:lnTo>
                    <a:pt x="2075" y="1527"/>
                  </a:lnTo>
                  <a:lnTo>
                    <a:pt x="2074" y="1506"/>
                  </a:lnTo>
                  <a:lnTo>
                    <a:pt x="2073" y="1495"/>
                  </a:lnTo>
                  <a:lnTo>
                    <a:pt x="2070" y="1486"/>
                  </a:lnTo>
                  <a:lnTo>
                    <a:pt x="2066" y="1477"/>
                  </a:lnTo>
                  <a:lnTo>
                    <a:pt x="2062" y="1469"/>
                  </a:lnTo>
                  <a:lnTo>
                    <a:pt x="2058" y="1461"/>
                  </a:lnTo>
                  <a:lnTo>
                    <a:pt x="2053" y="1454"/>
                  </a:lnTo>
                  <a:lnTo>
                    <a:pt x="2048" y="1447"/>
                  </a:lnTo>
                  <a:lnTo>
                    <a:pt x="2041" y="1442"/>
                  </a:lnTo>
                  <a:lnTo>
                    <a:pt x="2034" y="1437"/>
                  </a:lnTo>
                  <a:lnTo>
                    <a:pt x="2028" y="1434"/>
                  </a:lnTo>
                  <a:lnTo>
                    <a:pt x="2020" y="1430"/>
                  </a:lnTo>
                  <a:lnTo>
                    <a:pt x="2012" y="1427"/>
                  </a:lnTo>
                  <a:lnTo>
                    <a:pt x="2004" y="1426"/>
                  </a:lnTo>
                  <a:lnTo>
                    <a:pt x="1994" y="1426"/>
                  </a:lnTo>
                  <a:lnTo>
                    <a:pt x="1994" y="1426"/>
                  </a:lnTo>
                  <a:lnTo>
                    <a:pt x="1985" y="1426"/>
                  </a:lnTo>
                  <a:lnTo>
                    <a:pt x="1976" y="1429"/>
                  </a:lnTo>
                  <a:lnTo>
                    <a:pt x="1968" y="1430"/>
                  </a:lnTo>
                  <a:lnTo>
                    <a:pt x="1959" y="1434"/>
                  </a:lnTo>
                  <a:lnTo>
                    <a:pt x="1952" y="1438"/>
                  </a:lnTo>
                  <a:lnTo>
                    <a:pt x="1944" y="1443"/>
                  </a:lnTo>
                  <a:lnTo>
                    <a:pt x="1937" y="1449"/>
                  </a:lnTo>
                  <a:lnTo>
                    <a:pt x="1932" y="1455"/>
                  </a:lnTo>
                  <a:lnTo>
                    <a:pt x="1927" y="1462"/>
                  </a:lnTo>
                  <a:lnTo>
                    <a:pt x="1921" y="1470"/>
                  </a:lnTo>
                  <a:lnTo>
                    <a:pt x="1917" y="1478"/>
                  </a:lnTo>
                  <a:lnTo>
                    <a:pt x="1913" y="1487"/>
                  </a:lnTo>
                  <a:lnTo>
                    <a:pt x="1911" y="1497"/>
                  </a:lnTo>
                  <a:lnTo>
                    <a:pt x="1909" y="1506"/>
                  </a:lnTo>
                  <a:lnTo>
                    <a:pt x="1908" y="1517"/>
                  </a:lnTo>
                  <a:lnTo>
                    <a:pt x="1907" y="1527"/>
                  </a:lnTo>
                  <a:lnTo>
                    <a:pt x="1907" y="1527"/>
                  </a:lnTo>
                  <a:lnTo>
                    <a:pt x="1908" y="1539"/>
                  </a:lnTo>
                  <a:lnTo>
                    <a:pt x="1909" y="1550"/>
                  </a:lnTo>
                  <a:lnTo>
                    <a:pt x="1911" y="1560"/>
                  </a:lnTo>
                  <a:lnTo>
                    <a:pt x="1913" y="1570"/>
                  </a:lnTo>
                  <a:lnTo>
                    <a:pt x="1917" y="1579"/>
                  </a:lnTo>
                  <a:lnTo>
                    <a:pt x="1921" y="1587"/>
                  </a:lnTo>
                  <a:lnTo>
                    <a:pt x="1927" y="1595"/>
                  </a:lnTo>
                  <a:lnTo>
                    <a:pt x="1932" y="1602"/>
                  </a:lnTo>
                  <a:lnTo>
                    <a:pt x="1939" y="1608"/>
                  </a:lnTo>
                  <a:lnTo>
                    <a:pt x="1945" y="1614"/>
                  </a:lnTo>
                  <a:lnTo>
                    <a:pt x="1953" y="1618"/>
                  </a:lnTo>
                  <a:lnTo>
                    <a:pt x="1961" y="1622"/>
                  </a:lnTo>
                  <a:lnTo>
                    <a:pt x="1969" y="1626"/>
                  </a:lnTo>
                  <a:lnTo>
                    <a:pt x="1978" y="1627"/>
                  </a:lnTo>
                  <a:lnTo>
                    <a:pt x="1989" y="1628"/>
                  </a:lnTo>
                  <a:lnTo>
                    <a:pt x="1998" y="1630"/>
                  </a:lnTo>
                  <a:lnTo>
                    <a:pt x="1998" y="1630"/>
                  </a:lnTo>
                  <a:lnTo>
                    <a:pt x="2009" y="1628"/>
                  </a:lnTo>
                  <a:lnTo>
                    <a:pt x="2018" y="1627"/>
                  </a:lnTo>
                  <a:lnTo>
                    <a:pt x="2028" y="1624"/>
                  </a:lnTo>
                  <a:lnTo>
                    <a:pt x="2036" y="1622"/>
                  </a:lnTo>
                  <a:lnTo>
                    <a:pt x="2045" y="1618"/>
                  </a:lnTo>
                  <a:lnTo>
                    <a:pt x="2053" y="1612"/>
                  </a:lnTo>
                  <a:lnTo>
                    <a:pt x="2061" y="1606"/>
                  </a:lnTo>
                  <a:lnTo>
                    <a:pt x="2068" y="1599"/>
                  </a:lnTo>
                  <a:lnTo>
                    <a:pt x="2037" y="1568"/>
                  </a:lnTo>
                  <a:close/>
                  <a:moveTo>
                    <a:pt x="1956" y="1507"/>
                  </a:moveTo>
                  <a:lnTo>
                    <a:pt x="1956" y="1507"/>
                  </a:lnTo>
                  <a:lnTo>
                    <a:pt x="1957" y="1499"/>
                  </a:lnTo>
                  <a:lnTo>
                    <a:pt x="1960" y="1491"/>
                  </a:lnTo>
                  <a:lnTo>
                    <a:pt x="1963" y="1485"/>
                  </a:lnTo>
                  <a:lnTo>
                    <a:pt x="1968" y="1478"/>
                  </a:lnTo>
                  <a:lnTo>
                    <a:pt x="1973" y="1474"/>
                  </a:lnTo>
                  <a:lnTo>
                    <a:pt x="1978" y="1470"/>
                  </a:lnTo>
                  <a:lnTo>
                    <a:pt x="1985" y="1467"/>
                  </a:lnTo>
                  <a:lnTo>
                    <a:pt x="1993" y="1467"/>
                  </a:lnTo>
                  <a:lnTo>
                    <a:pt x="1993" y="1467"/>
                  </a:lnTo>
                  <a:lnTo>
                    <a:pt x="2001" y="1467"/>
                  </a:lnTo>
                  <a:lnTo>
                    <a:pt x="2009" y="1470"/>
                  </a:lnTo>
                  <a:lnTo>
                    <a:pt x="2016" y="1474"/>
                  </a:lnTo>
                  <a:lnTo>
                    <a:pt x="2020" y="1479"/>
                  </a:lnTo>
                  <a:lnTo>
                    <a:pt x="2024" y="1486"/>
                  </a:lnTo>
                  <a:lnTo>
                    <a:pt x="2026" y="1493"/>
                  </a:lnTo>
                  <a:lnTo>
                    <a:pt x="2029" y="1499"/>
                  </a:lnTo>
                  <a:lnTo>
                    <a:pt x="2029" y="1507"/>
                  </a:lnTo>
                  <a:lnTo>
                    <a:pt x="1956" y="1507"/>
                  </a:lnTo>
                  <a:close/>
                  <a:moveTo>
                    <a:pt x="2501" y="1568"/>
                  </a:moveTo>
                  <a:lnTo>
                    <a:pt x="2501" y="1568"/>
                  </a:lnTo>
                  <a:lnTo>
                    <a:pt x="2493" y="1574"/>
                  </a:lnTo>
                  <a:lnTo>
                    <a:pt x="2485" y="1579"/>
                  </a:lnTo>
                  <a:lnTo>
                    <a:pt x="2474" y="1583"/>
                  </a:lnTo>
                  <a:lnTo>
                    <a:pt x="2462" y="1584"/>
                  </a:lnTo>
                  <a:lnTo>
                    <a:pt x="2462" y="1584"/>
                  </a:lnTo>
                  <a:lnTo>
                    <a:pt x="2452" y="1583"/>
                  </a:lnTo>
                  <a:lnTo>
                    <a:pt x="2445" y="1582"/>
                  </a:lnTo>
                  <a:lnTo>
                    <a:pt x="2438" y="1578"/>
                  </a:lnTo>
                  <a:lnTo>
                    <a:pt x="2432" y="1574"/>
                  </a:lnTo>
                  <a:lnTo>
                    <a:pt x="2425" y="1566"/>
                  </a:lnTo>
                  <a:lnTo>
                    <a:pt x="2421" y="1555"/>
                  </a:lnTo>
                  <a:lnTo>
                    <a:pt x="2420" y="1542"/>
                  </a:lnTo>
                  <a:lnTo>
                    <a:pt x="2538" y="1542"/>
                  </a:lnTo>
                  <a:lnTo>
                    <a:pt x="2538" y="1542"/>
                  </a:lnTo>
                  <a:lnTo>
                    <a:pt x="2539" y="1527"/>
                  </a:lnTo>
                  <a:lnTo>
                    <a:pt x="2539" y="1527"/>
                  </a:lnTo>
                  <a:lnTo>
                    <a:pt x="2537" y="1506"/>
                  </a:lnTo>
                  <a:lnTo>
                    <a:pt x="2535" y="1495"/>
                  </a:lnTo>
                  <a:lnTo>
                    <a:pt x="2533" y="1486"/>
                  </a:lnTo>
                  <a:lnTo>
                    <a:pt x="2530" y="1477"/>
                  </a:lnTo>
                  <a:lnTo>
                    <a:pt x="2526" y="1469"/>
                  </a:lnTo>
                  <a:lnTo>
                    <a:pt x="2522" y="1461"/>
                  </a:lnTo>
                  <a:lnTo>
                    <a:pt x="2517" y="1454"/>
                  </a:lnTo>
                  <a:lnTo>
                    <a:pt x="2511" y="1447"/>
                  </a:lnTo>
                  <a:lnTo>
                    <a:pt x="2505" y="1442"/>
                  </a:lnTo>
                  <a:lnTo>
                    <a:pt x="2498" y="1437"/>
                  </a:lnTo>
                  <a:lnTo>
                    <a:pt x="2491" y="1434"/>
                  </a:lnTo>
                  <a:lnTo>
                    <a:pt x="2483" y="1430"/>
                  </a:lnTo>
                  <a:lnTo>
                    <a:pt x="2475" y="1427"/>
                  </a:lnTo>
                  <a:lnTo>
                    <a:pt x="2466" y="1426"/>
                  </a:lnTo>
                  <a:lnTo>
                    <a:pt x="2457" y="1426"/>
                  </a:lnTo>
                  <a:lnTo>
                    <a:pt x="2457" y="1426"/>
                  </a:lnTo>
                  <a:lnTo>
                    <a:pt x="2448" y="1426"/>
                  </a:lnTo>
                  <a:lnTo>
                    <a:pt x="2440" y="1429"/>
                  </a:lnTo>
                  <a:lnTo>
                    <a:pt x="2430" y="1430"/>
                  </a:lnTo>
                  <a:lnTo>
                    <a:pt x="2422" y="1434"/>
                  </a:lnTo>
                  <a:lnTo>
                    <a:pt x="2414" y="1438"/>
                  </a:lnTo>
                  <a:lnTo>
                    <a:pt x="2408" y="1443"/>
                  </a:lnTo>
                  <a:lnTo>
                    <a:pt x="2401" y="1449"/>
                  </a:lnTo>
                  <a:lnTo>
                    <a:pt x="2394" y="1455"/>
                  </a:lnTo>
                  <a:lnTo>
                    <a:pt x="2389" y="1462"/>
                  </a:lnTo>
                  <a:lnTo>
                    <a:pt x="2384" y="1470"/>
                  </a:lnTo>
                  <a:lnTo>
                    <a:pt x="2380" y="1478"/>
                  </a:lnTo>
                  <a:lnTo>
                    <a:pt x="2377" y="1487"/>
                  </a:lnTo>
                  <a:lnTo>
                    <a:pt x="2373" y="1497"/>
                  </a:lnTo>
                  <a:lnTo>
                    <a:pt x="2372" y="1506"/>
                  </a:lnTo>
                  <a:lnTo>
                    <a:pt x="2370" y="1517"/>
                  </a:lnTo>
                  <a:lnTo>
                    <a:pt x="2370" y="1527"/>
                  </a:lnTo>
                  <a:lnTo>
                    <a:pt x="2370" y="1527"/>
                  </a:lnTo>
                  <a:lnTo>
                    <a:pt x="2370" y="1539"/>
                  </a:lnTo>
                  <a:lnTo>
                    <a:pt x="2372" y="1550"/>
                  </a:lnTo>
                  <a:lnTo>
                    <a:pt x="2373" y="1560"/>
                  </a:lnTo>
                  <a:lnTo>
                    <a:pt x="2377" y="1570"/>
                  </a:lnTo>
                  <a:lnTo>
                    <a:pt x="2380" y="1579"/>
                  </a:lnTo>
                  <a:lnTo>
                    <a:pt x="2385" y="1587"/>
                  </a:lnTo>
                  <a:lnTo>
                    <a:pt x="2389" y="1595"/>
                  </a:lnTo>
                  <a:lnTo>
                    <a:pt x="2396" y="1602"/>
                  </a:lnTo>
                  <a:lnTo>
                    <a:pt x="2401" y="1608"/>
                  </a:lnTo>
                  <a:lnTo>
                    <a:pt x="2409" y="1614"/>
                  </a:lnTo>
                  <a:lnTo>
                    <a:pt x="2416" y="1618"/>
                  </a:lnTo>
                  <a:lnTo>
                    <a:pt x="2424" y="1622"/>
                  </a:lnTo>
                  <a:lnTo>
                    <a:pt x="2433" y="1626"/>
                  </a:lnTo>
                  <a:lnTo>
                    <a:pt x="2442" y="1627"/>
                  </a:lnTo>
                  <a:lnTo>
                    <a:pt x="2452" y="1628"/>
                  </a:lnTo>
                  <a:lnTo>
                    <a:pt x="2462" y="1630"/>
                  </a:lnTo>
                  <a:lnTo>
                    <a:pt x="2462" y="1630"/>
                  </a:lnTo>
                  <a:lnTo>
                    <a:pt x="2471" y="1628"/>
                  </a:lnTo>
                  <a:lnTo>
                    <a:pt x="2481" y="1627"/>
                  </a:lnTo>
                  <a:lnTo>
                    <a:pt x="2490" y="1624"/>
                  </a:lnTo>
                  <a:lnTo>
                    <a:pt x="2499" y="1622"/>
                  </a:lnTo>
                  <a:lnTo>
                    <a:pt x="2507" y="1618"/>
                  </a:lnTo>
                  <a:lnTo>
                    <a:pt x="2515" y="1612"/>
                  </a:lnTo>
                  <a:lnTo>
                    <a:pt x="2523" y="1606"/>
                  </a:lnTo>
                  <a:lnTo>
                    <a:pt x="2531" y="1599"/>
                  </a:lnTo>
                  <a:lnTo>
                    <a:pt x="2501" y="1568"/>
                  </a:lnTo>
                  <a:close/>
                  <a:moveTo>
                    <a:pt x="2420" y="1507"/>
                  </a:moveTo>
                  <a:lnTo>
                    <a:pt x="2420" y="1507"/>
                  </a:lnTo>
                  <a:lnTo>
                    <a:pt x="2421" y="1499"/>
                  </a:lnTo>
                  <a:lnTo>
                    <a:pt x="2422" y="1491"/>
                  </a:lnTo>
                  <a:lnTo>
                    <a:pt x="2426" y="1485"/>
                  </a:lnTo>
                  <a:lnTo>
                    <a:pt x="2430" y="1478"/>
                  </a:lnTo>
                  <a:lnTo>
                    <a:pt x="2436" y="1474"/>
                  </a:lnTo>
                  <a:lnTo>
                    <a:pt x="2442" y="1470"/>
                  </a:lnTo>
                  <a:lnTo>
                    <a:pt x="2449" y="1467"/>
                  </a:lnTo>
                  <a:lnTo>
                    <a:pt x="2455" y="1467"/>
                  </a:lnTo>
                  <a:lnTo>
                    <a:pt x="2455" y="1467"/>
                  </a:lnTo>
                  <a:lnTo>
                    <a:pt x="2465" y="1467"/>
                  </a:lnTo>
                  <a:lnTo>
                    <a:pt x="2471" y="1470"/>
                  </a:lnTo>
                  <a:lnTo>
                    <a:pt x="2478" y="1474"/>
                  </a:lnTo>
                  <a:lnTo>
                    <a:pt x="2483" y="1479"/>
                  </a:lnTo>
                  <a:lnTo>
                    <a:pt x="2487" y="1486"/>
                  </a:lnTo>
                  <a:lnTo>
                    <a:pt x="2490" y="1493"/>
                  </a:lnTo>
                  <a:lnTo>
                    <a:pt x="2491" y="1499"/>
                  </a:lnTo>
                  <a:lnTo>
                    <a:pt x="2493" y="1507"/>
                  </a:lnTo>
                  <a:lnTo>
                    <a:pt x="2420" y="1507"/>
                  </a:lnTo>
                  <a:close/>
                  <a:moveTo>
                    <a:pt x="2304" y="1558"/>
                  </a:moveTo>
                  <a:lnTo>
                    <a:pt x="2304" y="1558"/>
                  </a:lnTo>
                  <a:lnTo>
                    <a:pt x="2305" y="1568"/>
                  </a:lnTo>
                  <a:lnTo>
                    <a:pt x="2307" y="1574"/>
                  </a:lnTo>
                  <a:lnTo>
                    <a:pt x="2309" y="1576"/>
                  </a:lnTo>
                  <a:lnTo>
                    <a:pt x="2312" y="1580"/>
                  </a:lnTo>
                  <a:lnTo>
                    <a:pt x="2316" y="1582"/>
                  </a:lnTo>
                  <a:lnTo>
                    <a:pt x="2320" y="1583"/>
                  </a:lnTo>
                  <a:lnTo>
                    <a:pt x="2325" y="1583"/>
                  </a:lnTo>
                  <a:lnTo>
                    <a:pt x="2325" y="1583"/>
                  </a:lnTo>
                  <a:lnTo>
                    <a:pt x="2332" y="1583"/>
                  </a:lnTo>
                  <a:lnTo>
                    <a:pt x="2340" y="1580"/>
                  </a:lnTo>
                  <a:lnTo>
                    <a:pt x="2353" y="1575"/>
                  </a:lnTo>
                  <a:lnTo>
                    <a:pt x="2348" y="1620"/>
                  </a:lnTo>
                  <a:lnTo>
                    <a:pt x="2348" y="1620"/>
                  </a:lnTo>
                  <a:lnTo>
                    <a:pt x="2339" y="1624"/>
                  </a:lnTo>
                  <a:lnTo>
                    <a:pt x="2329" y="1627"/>
                  </a:lnTo>
                  <a:lnTo>
                    <a:pt x="2319" y="1628"/>
                  </a:lnTo>
                  <a:lnTo>
                    <a:pt x="2308" y="1630"/>
                  </a:lnTo>
                  <a:lnTo>
                    <a:pt x="2308" y="1630"/>
                  </a:lnTo>
                  <a:lnTo>
                    <a:pt x="2295" y="1628"/>
                  </a:lnTo>
                  <a:lnTo>
                    <a:pt x="2284" y="1623"/>
                  </a:lnTo>
                  <a:lnTo>
                    <a:pt x="2275" y="1618"/>
                  </a:lnTo>
                  <a:lnTo>
                    <a:pt x="2267" y="1610"/>
                  </a:lnTo>
                  <a:lnTo>
                    <a:pt x="2263" y="1600"/>
                  </a:lnTo>
                  <a:lnTo>
                    <a:pt x="2259" y="1590"/>
                  </a:lnTo>
                  <a:lnTo>
                    <a:pt x="2256" y="1580"/>
                  </a:lnTo>
                  <a:lnTo>
                    <a:pt x="2256" y="1570"/>
                  </a:lnTo>
                  <a:lnTo>
                    <a:pt x="2256" y="1475"/>
                  </a:lnTo>
                  <a:lnTo>
                    <a:pt x="2226" y="1475"/>
                  </a:lnTo>
                  <a:lnTo>
                    <a:pt x="2226" y="1430"/>
                  </a:lnTo>
                  <a:lnTo>
                    <a:pt x="2256" y="1430"/>
                  </a:lnTo>
                  <a:lnTo>
                    <a:pt x="2256" y="1381"/>
                  </a:lnTo>
                  <a:lnTo>
                    <a:pt x="2304" y="1357"/>
                  </a:lnTo>
                  <a:lnTo>
                    <a:pt x="2304" y="1430"/>
                  </a:lnTo>
                  <a:lnTo>
                    <a:pt x="2348" y="1430"/>
                  </a:lnTo>
                  <a:lnTo>
                    <a:pt x="2348" y="1475"/>
                  </a:lnTo>
                  <a:lnTo>
                    <a:pt x="2304" y="1475"/>
                  </a:lnTo>
                  <a:lnTo>
                    <a:pt x="2304" y="1558"/>
                  </a:lnTo>
                  <a:close/>
                  <a:moveTo>
                    <a:pt x="2211" y="1620"/>
                  </a:moveTo>
                  <a:lnTo>
                    <a:pt x="2211" y="1620"/>
                  </a:lnTo>
                  <a:lnTo>
                    <a:pt x="2202" y="1624"/>
                  </a:lnTo>
                  <a:lnTo>
                    <a:pt x="2192" y="1627"/>
                  </a:lnTo>
                  <a:lnTo>
                    <a:pt x="2182" y="1628"/>
                  </a:lnTo>
                  <a:lnTo>
                    <a:pt x="2171" y="1630"/>
                  </a:lnTo>
                  <a:lnTo>
                    <a:pt x="2171" y="1630"/>
                  </a:lnTo>
                  <a:lnTo>
                    <a:pt x="2158" y="1628"/>
                  </a:lnTo>
                  <a:lnTo>
                    <a:pt x="2146" y="1623"/>
                  </a:lnTo>
                  <a:lnTo>
                    <a:pt x="2138" y="1618"/>
                  </a:lnTo>
                  <a:lnTo>
                    <a:pt x="2130" y="1610"/>
                  </a:lnTo>
                  <a:lnTo>
                    <a:pt x="2125" y="1600"/>
                  </a:lnTo>
                  <a:lnTo>
                    <a:pt x="2122" y="1590"/>
                  </a:lnTo>
                  <a:lnTo>
                    <a:pt x="2119" y="1580"/>
                  </a:lnTo>
                  <a:lnTo>
                    <a:pt x="2119" y="1570"/>
                  </a:lnTo>
                  <a:lnTo>
                    <a:pt x="2119" y="1475"/>
                  </a:lnTo>
                  <a:lnTo>
                    <a:pt x="2089" y="1475"/>
                  </a:lnTo>
                  <a:lnTo>
                    <a:pt x="2089" y="1430"/>
                  </a:lnTo>
                  <a:lnTo>
                    <a:pt x="2119" y="1430"/>
                  </a:lnTo>
                  <a:lnTo>
                    <a:pt x="2119" y="1381"/>
                  </a:lnTo>
                  <a:lnTo>
                    <a:pt x="2167" y="1357"/>
                  </a:lnTo>
                  <a:lnTo>
                    <a:pt x="2167" y="1430"/>
                  </a:lnTo>
                  <a:lnTo>
                    <a:pt x="2207" y="1430"/>
                  </a:lnTo>
                  <a:lnTo>
                    <a:pt x="2207" y="1475"/>
                  </a:lnTo>
                  <a:lnTo>
                    <a:pt x="2167" y="1475"/>
                  </a:lnTo>
                  <a:lnTo>
                    <a:pt x="2167" y="1558"/>
                  </a:lnTo>
                  <a:lnTo>
                    <a:pt x="2167" y="1558"/>
                  </a:lnTo>
                  <a:lnTo>
                    <a:pt x="2168" y="1568"/>
                  </a:lnTo>
                  <a:lnTo>
                    <a:pt x="2170" y="1574"/>
                  </a:lnTo>
                  <a:lnTo>
                    <a:pt x="2171" y="1576"/>
                  </a:lnTo>
                  <a:lnTo>
                    <a:pt x="2175" y="1580"/>
                  </a:lnTo>
                  <a:lnTo>
                    <a:pt x="2178" y="1582"/>
                  </a:lnTo>
                  <a:lnTo>
                    <a:pt x="2183" y="1583"/>
                  </a:lnTo>
                  <a:lnTo>
                    <a:pt x="2187" y="1583"/>
                  </a:lnTo>
                  <a:lnTo>
                    <a:pt x="2187" y="1583"/>
                  </a:lnTo>
                  <a:lnTo>
                    <a:pt x="2195" y="1583"/>
                  </a:lnTo>
                  <a:lnTo>
                    <a:pt x="2203" y="1580"/>
                  </a:lnTo>
                  <a:lnTo>
                    <a:pt x="2216" y="1575"/>
                  </a:lnTo>
                  <a:lnTo>
                    <a:pt x="2211" y="1620"/>
                  </a:lnTo>
                  <a:close/>
                  <a:moveTo>
                    <a:pt x="2684" y="1485"/>
                  </a:moveTo>
                  <a:lnTo>
                    <a:pt x="2684" y="1485"/>
                  </a:lnTo>
                  <a:lnTo>
                    <a:pt x="2676" y="1481"/>
                  </a:lnTo>
                  <a:lnTo>
                    <a:pt x="2668" y="1477"/>
                  </a:lnTo>
                  <a:lnTo>
                    <a:pt x="2660" y="1475"/>
                  </a:lnTo>
                  <a:lnTo>
                    <a:pt x="2652" y="1474"/>
                  </a:lnTo>
                  <a:lnTo>
                    <a:pt x="2652" y="1474"/>
                  </a:lnTo>
                  <a:lnTo>
                    <a:pt x="2644" y="1475"/>
                  </a:lnTo>
                  <a:lnTo>
                    <a:pt x="2636" y="1477"/>
                  </a:lnTo>
                  <a:lnTo>
                    <a:pt x="2631" y="1481"/>
                  </a:lnTo>
                  <a:lnTo>
                    <a:pt x="2626" y="1486"/>
                  </a:lnTo>
                  <a:lnTo>
                    <a:pt x="2622" y="1491"/>
                  </a:lnTo>
                  <a:lnTo>
                    <a:pt x="2619" y="1499"/>
                  </a:lnTo>
                  <a:lnTo>
                    <a:pt x="2618" y="1509"/>
                  </a:lnTo>
                  <a:lnTo>
                    <a:pt x="2618" y="1519"/>
                  </a:lnTo>
                  <a:lnTo>
                    <a:pt x="2618" y="1624"/>
                  </a:lnTo>
                  <a:lnTo>
                    <a:pt x="2570" y="1624"/>
                  </a:lnTo>
                  <a:lnTo>
                    <a:pt x="2570" y="1430"/>
                  </a:lnTo>
                  <a:lnTo>
                    <a:pt x="2618" y="1430"/>
                  </a:lnTo>
                  <a:lnTo>
                    <a:pt x="2618" y="1447"/>
                  </a:lnTo>
                  <a:lnTo>
                    <a:pt x="2618" y="1447"/>
                  </a:lnTo>
                  <a:lnTo>
                    <a:pt x="2627" y="1438"/>
                  </a:lnTo>
                  <a:lnTo>
                    <a:pt x="2638" y="1431"/>
                  </a:lnTo>
                  <a:lnTo>
                    <a:pt x="2648" y="1427"/>
                  </a:lnTo>
                  <a:lnTo>
                    <a:pt x="2660" y="1426"/>
                  </a:lnTo>
                  <a:lnTo>
                    <a:pt x="2660" y="1426"/>
                  </a:lnTo>
                  <a:lnTo>
                    <a:pt x="2671" y="1427"/>
                  </a:lnTo>
                  <a:lnTo>
                    <a:pt x="2680" y="1429"/>
                  </a:lnTo>
                  <a:lnTo>
                    <a:pt x="2689" y="1433"/>
                  </a:lnTo>
                  <a:lnTo>
                    <a:pt x="2696" y="1438"/>
                  </a:lnTo>
                  <a:lnTo>
                    <a:pt x="2684" y="1485"/>
                  </a:lnTo>
                  <a:close/>
                  <a:moveTo>
                    <a:pt x="517" y="1382"/>
                  </a:moveTo>
                  <a:lnTo>
                    <a:pt x="517" y="1402"/>
                  </a:lnTo>
                  <a:lnTo>
                    <a:pt x="469" y="1402"/>
                  </a:lnTo>
                  <a:lnTo>
                    <a:pt x="469" y="1354"/>
                  </a:lnTo>
                  <a:lnTo>
                    <a:pt x="517" y="1354"/>
                  </a:lnTo>
                  <a:lnTo>
                    <a:pt x="517" y="1382"/>
                  </a:lnTo>
                  <a:close/>
                  <a:moveTo>
                    <a:pt x="852" y="1430"/>
                  </a:moveTo>
                  <a:lnTo>
                    <a:pt x="900" y="1430"/>
                  </a:lnTo>
                  <a:lnTo>
                    <a:pt x="900" y="1513"/>
                  </a:lnTo>
                  <a:lnTo>
                    <a:pt x="900" y="1624"/>
                  </a:lnTo>
                  <a:lnTo>
                    <a:pt x="852" y="1624"/>
                  </a:lnTo>
                  <a:lnTo>
                    <a:pt x="852" y="1430"/>
                  </a:lnTo>
                  <a:close/>
                  <a:moveTo>
                    <a:pt x="900" y="1378"/>
                  </a:moveTo>
                  <a:lnTo>
                    <a:pt x="900" y="1402"/>
                  </a:lnTo>
                  <a:lnTo>
                    <a:pt x="852" y="1402"/>
                  </a:lnTo>
                  <a:lnTo>
                    <a:pt x="852" y="1354"/>
                  </a:lnTo>
                  <a:lnTo>
                    <a:pt x="900" y="1354"/>
                  </a:lnTo>
                  <a:lnTo>
                    <a:pt x="900" y="1378"/>
                  </a:lnTo>
                  <a:close/>
                  <a:moveTo>
                    <a:pt x="2218" y="1784"/>
                  </a:moveTo>
                  <a:lnTo>
                    <a:pt x="2218" y="1784"/>
                  </a:lnTo>
                  <a:lnTo>
                    <a:pt x="2208" y="1776"/>
                  </a:lnTo>
                  <a:lnTo>
                    <a:pt x="2198" y="1770"/>
                  </a:lnTo>
                  <a:lnTo>
                    <a:pt x="2186" y="1766"/>
                  </a:lnTo>
                  <a:lnTo>
                    <a:pt x="2174" y="1765"/>
                  </a:lnTo>
                  <a:lnTo>
                    <a:pt x="2174" y="1765"/>
                  </a:lnTo>
                  <a:lnTo>
                    <a:pt x="2166" y="1766"/>
                  </a:lnTo>
                  <a:lnTo>
                    <a:pt x="2158" y="1768"/>
                  </a:lnTo>
                  <a:lnTo>
                    <a:pt x="2150" y="1769"/>
                  </a:lnTo>
                  <a:lnTo>
                    <a:pt x="2142" y="1773"/>
                  </a:lnTo>
                  <a:lnTo>
                    <a:pt x="2135" y="1777"/>
                  </a:lnTo>
                  <a:lnTo>
                    <a:pt x="2129" y="1781"/>
                  </a:lnTo>
                  <a:lnTo>
                    <a:pt x="2123" y="1786"/>
                  </a:lnTo>
                  <a:lnTo>
                    <a:pt x="2118" y="1793"/>
                  </a:lnTo>
                  <a:lnTo>
                    <a:pt x="2114" y="1800"/>
                  </a:lnTo>
                  <a:lnTo>
                    <a:pt x="2110" y="1806"/>
                  </a:lnTo>
                  <a:lnTo>
                    <a:pt x="2103" y="1824"/>
                  </a:lnTo>
                  <a:lnTo>
                    <a:pt x="2099" y="1844"/>
                  </a:lnTo>
                  <a:lnTo>
                    <a:pt x="2098" y="1865"/>
                  </a:lnTo>
                  <a:lnTo>
                    <a:pt x="2098" y="1865"/>
                  </a:lnTo>
                  <a:lnTo>
                    <a:pt x="2099" y="1889"/>
                  </a:lnTo>
                  <a:lnTo>
                    <a:pt x="2103" y="1909"/>
                  </a:lnTo>
                  <a:lnTo>
                    <a:pt x="2109" y="1926"/>
                  </a:lnTo>
                  <a:lnTo>
                    <a:pt x="2113" y="1934"/>
                  </a:lnTo>
                  <a:lnTo>
                    <a:pt x="2118" y="1941"/>
                  </a:lnTo>
                  <a:lnTo>
                    <a:pt x="2123" y="1947"/>
                  </a:lnTo>
                  <a:lnTo>
                    <a:pt x="2129" y="1953"/>
                  </a:lnTo>
                  <a:lnTo>
                    <a:pt x="2135" y="1958"/>
                  </a:lnTo>
                  <a:lnTo>
                    <a:pt x="2142" y="1962"/>
                  </a:lnTo>
                  <a:lnTo>
                    <a:pt x="2149" y="1965"/>
                  </a:lnTo>
                  <a:lnTo>
                    <a:pt x="2157" y="1967"/>
                  </a:lnTo>
                  <a:lnTo>
                    <a:pt x="2165" y="1969"/>
                  </a:lnTo>
                  <a:lnTo>
                    <a:pt x="2172" y="1969"/>
                  </a:lnTo>
                  <a:lnTo>
                    <a:pt x="2172" y="1969"/>
                  </a:lnTo>
                  <a:lnTo>
                    <a:pt x="2184" y="1967"/>
                  </a:lnTo>
                  <a:lnTo>
                    <a:pt x="2196" y="1963"/>
                  </a:lnTo>
                  <a:lnTo>
                    <a:pt x="2207" y="1958"/>
                  </a:lnTo>
                  <a:lnTo>
                    <a:pt x="2218" y="1950"/>
                  </a:lnTo>
                  <a:lnTo>
                    <a:pt x="2218" y="1965"/>
                  </a:lnTo>
                  <a:lnTo>
                    <a:pt x="2265" y="1965"/>
                  </a:lnTo>
                  <a:lnTo>
                    <a:pt x="2265" y="1689"/>
                  </a:lnTo>
                  <a:lnTo>
                    <a:pt x="2218" y="1713"/>
                  </a:lnTo>
                  <a:lnTo>
                    <a:pt x="2218" y="1784"/>
                  </a:lnTo>
                  <a:close/>
                  <a:moveTo>
                    <a:pt x="2183" y="1925"/>
                  </a:moveTo>
                  <a:lnTo>
                    <a:pt x="2183" y="1925"/>
                  </a:lnTo>
                  <a:lnTo>
                    <a:pt x="2176" y="1923"/>
                  </a:lnTo>
                  <a:lnTo>
                    <a:pt x="2171" y="1922"/>
                  </a:lnTo>
                  <a:lnTo>
                    <a:pt x="2165" y="1918"/>
                  </a:lnTo>
                  <a:lnTo>
                    <a:pt x="2159" y="1913"/>
                  </a:lnTo>
                  <a:lnTo>
                    <a:pt x="2154" y="1905"/>
                  </a:lnTo>
                  <a:lnTo>
                    <a:pt x="2150" y="1894"/>
                  </a:lnTo>
                  <a:lnTo>
                    <a:pt x="2147" y="1881"/>
                  </a:lnTo>
                  <a:lnTo>
                    <a:pt x="2147" y="1864"/>
                  </a:lnTo>
                  <a:lnTo>
                    <a:pt x="2147" y="1864"/>
                  </a:lnTo>
                  <a:lnTo>
                    <a:pt x="2147" y="1849"/>
                  </a:lnTo>
                  <a:lnTo>
                    <a:pt x="2150" y="1837"/>
                  </a:lnTo>
                  <a:lnTo>
                    <a:pt x="2154" y="1828"/>
                  </a:lnTo>
                  <a:lnTo>
                    <a:pt x="2159" y="1820"/>
                  </a:lnTo>
                  <a:lnTo>
                    <a:pt x="2165" y="1816"/>
                  </a:lnTo>
                  <a:lnTo>
                    <a:pt x="2170" y="1812"/>
                  </a:lnTo>
                  <a:lnTo>
                    <a:pt x="2176" y="1810"/>
                  </a:lnTo>
                  <a:lnTo>
                    <a:pt x="2183" y="1810"/>
                  </a:lnTo>
                  <a:lnTo>
                    <a:pt x="2183" y="1810"/>
                  </a:lnTo>
                  <a:lnTo>
                    <a:pt x="2190" y="1810"/>
                  </a:lnTo>
                  <a:lnTo>
                    <a:pt x="2195" y="1812"/>
                  </a:lnTo>
                  <a:lnTo>
                    <a:pt x="2200" y="1813"/>
                  </a:lnTo>
                  <a:lnTo>
                    <a:pt x="2204" y="1816"/>
                  </a:lnTo>
                  <a:lnTo>
                    <a:pt x="2212" y="1822"/>
                  </a:lnTo>
                  <a:lnTo>
                    <a:pt x="2218" y="1829"/>
                  </a:lnTo>
                  <a:lnTo>
                    <a:pt x="2218" y="1905"/>
                  </a:lnTo>
                  <a:lnTo>
                    <a:pt x="2218" y="1905"/>
                  </a:lnTo>
                  <a:lnTo>
                    <a:pt x="2211" y="1911"/>
                  </a:lnTo>
                  <a:lnTo>
                    <a:pt x="2204" y="1918"/>
                  </a:lnTo>
                  <a:lnTo>
                    <a:pt x="2200" y="1921"/>
                  </a:lnTo>
                  <a:lnTo>
                    <a:pt x="2195" y="1922"/>
                  </a:lnTo>
                  <a:lnTo>
                    <a:pt x="2190" y="1923"/>
                  </a:lnTo>
                  <a:lnTo>
                    <a:pt x="2183" y="1925"/>
                  </a:lnTo>
                  <a:lnTo>
                    <a:pt x="2183" y="1925"/>
                  </a:lnTo>
                  <a:close/>
                  <a:moveTo>
                    <a:pt x="587" y="1825"/>
                  </a:moveTo>
                  <a:lnTo>
                    <a:pt x="587" y="1825"/>
                  </a:lnTo>
                  <a:lnTo>
                    <a:pt x="579" y="1820"/>
                  </a:lnTo>
                  <a:lnTo>
                    <a:pt x="571" y="1817"/>
                  </a:lnTo>
                  <a:lnTo>
                    <a:pt x="563" y="1814"/>
                  </a:lnTo>
                  <a:lnTo>
                    <a:pt x="555" y="1814"/>
                  </a:lnTo>
                  <a:lnTo>
                    <a:pt x="555" y="1814"/>
                  </a:lnTo>
                  <a:lnTo>
                    <a:pt x="547" y="1814"/>
                  </a:lnTo>
                  <a:lnTo>
                    <a:pt x="539" y="1817"/>
                  </a:lnTo>
                  <a:lnTo>
                    <a:pt x="534" y="1820"/>
                  </a:lnTo>
                  <a:lnTo>
                    <a:pt x="529" y="1825"/>
                  </a:lnTo>
                  <a:lnTo>
                    <a:pt x="525" y="1832"/>
                  </a:lnTo>
                  <a:lnTo>
                    <a:pt x="522" y="1840"/>
                  </a:lnTo>
                  <a:lnTo>
                    <a:pt x="521" y="1848"/>
                  </a:lnTo>
                  <a:lnTo>
                    <a:pt x="521" y="1860"/>
                  </a:lnTo>
                  <a:lnTo>
                    <a:pt x="521" y="1965"/>
                  </a:lnTo>
                  <a:lnTo>
                    <a:pt x="473" y="1965"/>
                  </a:lnTo>
                  <a:lnTo>
                    <a:pt x="473" y="1770"/>
                  </a:lnTo>
                  <a:lnTo>
                    <a:pt x="521" y="1770"/>
                  </a:lnTo>
                  <a:lnTo>
                    <a:pt x="521" y="1786"/>
                  </a:lnTo>
                  <a:lnTo>
                    <a:pt x="521" y="1786"/>
                  </a:lnTo>
                  <a:lnTo>
                    <a:pt x="530" y="1777"/>
                  </a:lnTo>
                  <a:lnTo>
                    <a:pt x="539" y="1770"/>
                  </a:lnTo>
                  <a:lnTo>
                    <a:pt x="551" y="1766"/>
                  </a:lnTo>
                  <a:lnTo>
                    <a:pt x="563" y="1766"/>
                  </a:lnTo>
                  <a:lnTo>
                    <a:pt x="563" y="1766"/>
                  </a:lnTo>
                  <a:lnTo>
                    <a:pt x="573" y="1766"/>
                  </a:lnTo>
                  <a:lnTo>
                    <a:pt x="583" y="1769"/>
                  </a:lnTo>
                  <a:lnTo>
                    <a:pt x="593" y="1773"/>
                  </a:lnTo>
                  <a:lnTo>
                    <a:pt x="599" y="1777"/>
                  </a:lnTo>
                  <a:lnTo>
                    <a:pt x="587" y="1825"/>
                  </a:lnTo>
                  <a:close/>
                  <a:moveTo>
                    <a:pt x="210" y="1770"/>
                  </a:moveTo>
                  <a:lnTo>
                    <a:pt x="256" y="1770"/>
                  </a:lnTo>
                  <a:lnTo>
                    <a:pt x="202" y="1965"/>
                  </a:lnTo>
                  <a:lnTo>
                    <a:pt x="161" y="1965"/>
                  </a:lnTo>
                  <a:lnTo>
                    <a:pt x="140" y="1883"/>
                  </a:lnTo>
                  <a:lnTo>
                    <a:pt x="140" y="1883"/>
                  </a:lnTo>
                  <a:lnTo>
                    <a:pt x="129" y="1841"/>
                  </a:lnTo>
                  <a:lnTo>
                    <a:pt x="129" y="1841"/>
                  </a:lnTo>
                  <a:lnTo>
                    <a:pt x="124" y="1862"/>
                  </a:lnTo>
                  <a:lnTo>
                    <a:pt x="118" y="1885"/>
                  </a:lnTo>
                  <a:lnTo>
                    <a:pt x="97" y="1965"/>
                  </a:lnTo>
                  <a:lnTo>
                    <a:pt x="54" y="1965"/>
                  </a:lnTo>
                  <a:lnTo>
                    <a:pt x="54" y="1963"/>
                  </a:lnTo>
                  <a:lnTo>
                    <a:pt x="0" y="1770"/>
                  </a:lnTo>
                  <a:lnTo>
                    <a:pt x="49" y="1770"/>
                  </a:lnTo>
                  <a:lnTo>
                    <a:pt x="68" y="1842"/>
                  </a:lnTo>
                  <a:lnTo>
                    <a:pt x="68" y="1842"/>
                  </a:lnTo>
                  <a:lnTo>
                    <a:pt x="73" y="1865"/>
                  </a:lnTo>
                  <a:lnTo>
                    <a:pt x="77" y="1890"/>
                  </a:lnTo>
                  <a:lnTo>
                    <a:pt x="77" y="1890"/>
                  </a:lnTo>
                  <a:lnTo>
                    <a:pt x="82" y="1865"/>
                  </a:lnTo>
                  <a:lnTo>
                    <a:pt x="89" y="1841"/>
                  </a:lnTo>
                  <a:lnTo>
                    <a:pt x="109" y="1770"/>
                  </a:lnTo>
                  <a:lnTo>
                    <a:pt x="150" y="1770"/>
                  </a:lnTo>
                  <a:lnTo>
                    <a:pt x="170" y="1841"/>
                  </a:lnTo>
                  <a:lnTo>
                    <a:pt x="170" y="1841"/>
                  </a:lnTo>
                  <a:lnTo>
                    <a:pt x="177" y="1865"/>
                  </a:lnTo>
                  <a:lnTo>
                    <a:pt x="182" y="1890"/>
                  </a:lnTo>
                  <a:lnTo>
                    <a:pt x="182" y="1890"/>
                  </a:lnTo>
                  <a:lnTo>
                    <a:pt x="191" y="1841"/>
                  </a:lnTo>
                  <a:lnTo>
                    <a:pt x="210" y="1770"/>
                  </a:lnTo>
                  <a:close/>
                  <a:moveTo>
                    <a:pt x="355" y="1765"/>
                  </a:moveTo>
                  <a:lnTo>
                    <a:pt x="355" y="1765"/>
                  </a:lnTo>
                  <a:lnTo>
                    <a:pt x="345" y="1766"/>
                  </a:lnTo>
                  <a:lnTo>
                    <a:pt x="336" y="1768"/>
                  </a:lnTo>
                  <a:lnTo>
                    <a:pt x="328" y="1770"/>
                  </a:lnTo>
                  <a:lnTo>
                    <a:pt x="319" y="1773"/>
                  </a:lnTo>
                  <a:lnTo>
                    <a:pt x="312" y="1777"/>
                  </a:lnTo>
                  <a:lnTo>
                    <a:pt x="304" y="1782"/>
                  </a:lnTo>
                  <a:lnTo>
                    <a:pt x="298" y="1788"/>
                  </a:lnTo>
                  <a:lnTo>
                    <a:pt x="291" y="1794"/>
                  </a:lnTo>
                  <a:lnTo>
                    <a:pt x="286" y="1801"/>
                  </a:lnTo>
                  <a:lnTo>
                    <a:pt x="280" y="1809"/>
                  </a:lnTo>
                  <a:lnTo>
                    <a:pt x="276" y="1817"/>
                  </a:lnTo>
                  <a:lnTo>
                    <a:pt x="274" y="1826"/>
                  </a:lnTo>
                  <a:lnTo>
                    <a:pt x="270" y="1836"/>
                  </a:lnTo>
                  <a:lnTo>
                    <a:pt x="268" y="1846"/>
                  </a:lnTo>
                  <a:lnTo>
                    <a:pt x="267" y="1857"/>
                  </a:lnTo>
                  <a:lnTo>
                    <a:pt x="267" y="1868"/>
                  </a:lnTo>
                  <a:lnTo>
                    <a:pt x="267" y="1868"/>
                  </a:lnTo>
                  <a:lnTo>
                    <a:pt x="267" y="1878"/>
                  </a:lnTo>
                  <a:lnTo>
                    <a:pt x="268" y="1889"/>
                  </a:lnTo>
                  <a:lnTo>
                    <a:pt x="270" y="1898"/>
                  </a:lnTo>
                  <a:lnTo>
                    <a:pt x="274" y="1907"/>
                  </a:lnTo>
                  <a:lnTo>
                    <a:pt x="276" y="1917"/>
                  </a:lnTo>
                  <a:lnTo>
                    <a:pt x="280" y="1925"/>
                  </a:lnTo>
                  <a:lnTo>
                    <a:pt x="286" y="1933"/>
                  </a:lnTo>
                  <a:lnTo>
                    <a:pt x="291" y="1939"/>
                  </a:lnTo>
                  <a:lnTo>
                    <a:pt x="298" y="1946"/>
                  </a:lnTo>
                  <a:lnTo>
                    <a:pt x="304" y="1953"/>
                  </a:lnTo>
                  <a:lnTo>
                    <a:pt x="312" y="1957"/>
                  </a:lnTo>
                  <a:lnTo>
                    <a:pt x="319" y="1961"/>
                  </a:lnTo>
                  <a:lnTo>
                    <a:pt x="328" y="1965"/>
                  </a:lnTo>
                  <a:lnTo>
                    <a:pt x="336" y="1967"/>
                  </a:lnTo>
                  <a:lnTo>
                    <a:pt x="345" y="1969"/>
                  </a:lnTo>
                  <a:lnTo>
                    <a:pt x="355" y="1969"/>
                  </a:lnTo>
                  <a:lnTo>
                    <a:pt x="355" y="1969"/>
                  </a:lnTo>
                  <a:lnTo>
                    <a:pt x="364" y="1969"/>
                  </a:lnTo>
                  <a:lnTo>
                    <a:pt x="373" y="1967"/>
                  </a:lnTo>
                  <a:lnTo>
                    <a:pt x="381" y="1965"/>
                  </a:lnTo>
                  <a:lnTo>
                    <a:pt x="391" y="1961"/>
                  </a:lnTo>
                  <a:lnTo>
                    <a:pt x="397" y="1957"/>
                  </a:lnTo>
                  <a:lnTo>
                    <a:pt x="405" y="1953"/>
                  </a:lnTo>
                  <a:lnTo>
                    <a:pt x="412" y="1946"/>
                  </a:lnTo>
                  <a:lnTo>
                    <a:pt x="419" y="1939"/>
                  </a:lnTo>
                  <a:lnTo>
                    <a:pt x="424" y="1933"/>
                  </a:lnTo>
                  <a:lnTo>
                    <a:pt x="429" y="1925"/>
                  </a:lnTo>
                  <a:lnTo>
                    <a:pt x="433" y="1917"/>
                  </a:lnTo>
                  <a:lnTo>
                    <a:pt x="436" y="1907"/>
                  </a:lnTo>
                  <a:lnTo>
                    <a:pt x="440" y="1898"/>
                  </a:lnTo>
                  <a:lnTo>
                    <a:pt x="441" y="1889"/>
                  </a:lnTo>
                  <a:lnTo>
                    <a:pt x="442" y="1878"/>
                  </a:lnTo>
                  <a:lnTo>
                    <a:pt x="442" y="1868"/>
                  </a:lnTo>
                  <a:lnTo>
                    <a:pt x="442" y="1868"/>
                  </a:lnTo>
                  <a:lnTo>
                    <a:pt x="442" y="1857"/>
                  </a:lnTo>
                  <a:lnTo>
                    <a:pt x="441" y="1846"/>
                  </a:lnTo>
                  <a:lnTo>
                    <a:pt x="440" y="1836"/>
                  </a:lnTo>
                  <a:lnTo>
                    <a:pt x="436" y="1826"/>
                  </a:lnTo>
                  <a:lnTo>
                    <a:pt x="433" y="1817"/>
                  </a:lnTo>
                  <a:lnTo>
                    <a:pt x="429" y="1809"/>
                  </a:lnTo>
                  <a:lnTo>
                    <a:pt x="424" y="1801"/>
                  </a:lnTo>
                  <a:lnTo>
                    <a:pt x="419" y="1794"/>
                  </a:lnTo>
                  <a:lnTo>
                    <a:pt x="412" y="1788"/>
                  </a:lnTo>
                  <a:lnTo>
                    <a:pt x="405" y="1782"/>
                  </a:lnTo>
                  <a:lnTo>
                    <a:pt x="397" y="1777"/>
                  </a:lnTo>
                  <a:lnTo>
                    <a:pt x="391" y="1773"/>
                  </a:lnTo>
                  <a:lnTo>
                    <a:pt x="381" y="1770"/>
                  </a:lnTo>
                  <a:lnTo>
                    <a:pt x="373" y="1768"/>
                  </a:lnTo>
                  <a:lnTo>
                    <a:pt x="364" y="1766"/>
                  </a:lnTo>
                  <a:lnTo>
                    <a:pt x="355" y="1765"/>
                  </a:lnTo>
                  <a:lnTo>
                    <a:pt x="355" y="1765"/>
                  </a:lnTo>
                  <a:close/>
                  <a:moveTo>
                    <a:pt x="355" y="1923"/>
                  </a:moveTo>
                  <a:lnTo>
                    <a:pt x="355" y="1923"/>
                  </a:lnTo>
                  <a:lnTo>
                    <a:pt x="347" y="1922"/>
                  </a:lnTo>
                  <a:lnTo>
                    <a:pt x="339" y="1919"/>
                  </a:lnTo>
                  <a:lnTo>
                    <a:pt x="332" y="1914"/>
                  </a:lnTo>
                  <a:lnTo>
                    <a:pt x="326" y="1907"/>
                  </a:lnTo>
                  <a:lnTo>
                    <a:pt x="322" y="1899"/>
                  </a:lnTo>
                  <a:lnTo>
                    <a:pt x="318" y="1890"/>
                  </a:lnTo>
                  <a:lnTo>
                    <a:pt x="316" y="1879"/>
                  </a:lnTo>
                  <a:lnTo>
                    <a:pt x="315" y="1868"/>
                  </a:lnTo>
                  <a:lnTo>
                    <a:pt x="315" y="1868"/>
                  </a:lnTo>
                  <a:lnTo>
                    <a:pt x="316" y="1854"/>
                  </a:lnTo>
                  <a:lnTo>
                    <a:pt x="318" y="1844"/>
                  </a:lnTo>
                  <a:lnTo>
                    <a:pt x="322" y="1834"/>
                  </a:lnTo>
                  <a:lnTo>
                    <a:pt x="326" y="1826"/>
                  </a:lnTo>
                  <a:lnTo>
                    <a:pt x="332" y="1820"/>
                  </a:lnTo>
                  <a:lnTo>
                    <a:pt x="339" y="1814"/>
                  </a:lnTo>
                  <a:lnTo>
                    <a:pt x="347" y="1812"/>
                  </a:lnTo>
                  <a:lnTo>
                    <a:pt x="355" y="1810"/>
                  </a:lnTo>
                  <a:lnTo>
                    <a:pt x="355" y="1810"/>
                  </a:lnTo>
                  <a:lnTo>
                    <a:pt x="363" y="1812"/>
                  </a:lnTo>
                  <a:lnTo>
                    <a:pt x="371" y="1814"/>
                  </a:lnTo>
                  <a:lnTo>
                    <a:pt x="377" y="1820"/>
                  </a:lnTo>
                  <a:lnTo>
                    <a:pt x="384" y="1826"/>
                  </a:lnTo>
                  <a:lnTo>
                    <a:pt x="388" y="1834"/>
                  </a:lnTo>
                  <a:lnTo>
                    <a:pt x="392" y="1844"/>
                  </a:lnTo>
                  <a:lnTo>
                    <a:pt x="393" y="1854"/>
                  </a:lnTo>
                  <a:lnTo>
                    <a:pt x="395" y="1868"/>
                  </a:lnTo>
                  <a:lnTo>
                    <a:pt x="395" y="1868"/>
                  </a:lnTo>
                  <a:lnTo>
                    <a:pt x="393" y="1879"/>
                  </a:lnTo>
                  <a:lnTo>
                    <a:pt x="392" y="1890"/>
                  </a:lnTo>
                  <a:lnTo>
                    <a:pt x="388" y="1899"/>
                  </a:lnTo>
                  <a:lnTo>
                    <a:pt x="384" y="1907"/>
                  </a:lnTo>
                  <a:lnTo>
                    <a:pt x="377" y="1914"/>
                  </a:lnTo>
                  <a:lnTo>
                    <a:pt x="371" y="1919"/>
                  </a:lnTo>
                  <a:lnTo>
                    <a:pt x="363" y="1922"/>
                  </a:lnTo>
                  <a:lnTo>
                    <a:pt x="355" y="1923"/>
                  </a:lnTo>
                  <a:lnTo>
                    <a:pt x="355" y="1923"/>
                  </a:lnTo>
                  <a:close/>
                  <a:moveTo>
                    <a:pt x="1981" y="1825"/>
                  </a:moveTo>
                  <a:lnTo>
                    <a:pt x="1981" y="1825"/>
                  </a:lnTo>
                  <a:lnTo>
                    <a:pt x="1973" y="1820"/>
                  </a:lnTo>
                  <a:lnTo>
                    <a:pt x="1965" y="1817"/>
                  </a:lnTo>
                  <a:lnTo>
                    <a:pt x="1957" y="1814"/>
                  </a:lnTo>
                  <a:lnTo>
                    <a:pt x="1949" y="1814"/>
                  </a:lnTo>
                  <a:lnTo>
                    <a:pt x="1949" y="1814"/>
                  </a:lnTo>
                  <a:lnTo>
                    <a:pt x="1941" y="1814"/>
                  </a:lnTo>
                  <a:lnTo>
                    <a:pt x="1933" y="1817"/>
                  </a:lnTo>
                  <a:lnTo>
                    <a:pt x="1928" y="1820"/>
                  </a:lnTo>
                  <a:lnTo>
                    <a:pt x="1923" y="1825"/>
                  </a:lnTo>
                  <a:lnTo>
                    <a:pt x="1919" y="1832"/>
                  </a:lnTo>
                  <a:lnTo>
                    <a:pt x="1916" y="1840"/>
                  </a:lnTo>
                  <a:lnTo>
                    <a:pt x="1915" y="1848"/>
                  </a:lnTo>
                  <a:lnTo>
                    <a:pt x="1915" y="1860"/>
                  </a:lnTo>
                  <a:lnTo>
                    <a:pt x="1915" y="1965"/>
                  </a:lnTo>
                  <a:lnTo>
                    <a:pt x="1867" y="1965"/>
                  </a:lnTo>
                  <a:lnTo>
                    <a:pt x="1867" y="1770"/>
                  </a:lnTo>
                  <a:lnTo>
                    <a:pt x="1915" y="1770"/>
                  </a:lnTo>
                  <a:lnTo>
                    <a:pt x="1915" y="1786"/>
                  </a:lnTo>
                  <a:lnTo>
                    <a:pt x="1915" y="1786"/>
                  </a:lnTo>
                  <a:lnTo>
                    <a:pt x="1924" y="1777"/>
                  </a:lnTo>
                  <a:lnTo>
                    <a:pt x="1933" y="1770"/>
                  </a:lnTo>
                  <a:lnTo>
                    <a:pt x="1945" y="1766"/>
                  </a:lnTo>
                  <a:lnTo>
                    <a:pt x="1957" y="1766"/>
                  </a:lnTo>
                  <a:lnTo>
                    <a:pt x="1957" y="1766"/>
                  </a:lnTo>
                  <a:lnTo>
                    <a:pt x="1967" y="1766"/>
                  </a:lnTo>
                  <a:lnTo>
                    <a:pt x="1977" y="1769"/>
                  </a:lnTo>
                  <a:lnTo>
                    <a:pt x="1985" y="1773"/>
                  </a:lnTo>
                  <a:lnTo>
                    <a:pt x="1993" y="1777"/>
                  </a:lnTo>
                  <a:lnTo>
                    <a:pt x="1981" y="1825"/>
                  </a:lnTo>
                  <a:close/>
                  <a:moveTo>
                    <a:pt x="1604" y="1770"/>
                  </a:moveTo>
                  <a:lnTo>
                    <a:pt x="1650" y="1770"/>
                  </a:lnTo>
                  <a:lnTo>
                    <a:pt x="1596" y="1965"/>
                  </a:lnTo>
                  <a:lnTo>
                    <a:pt x="1555" y="1965"/>
                  </a:lnTo>
                  <a:lnTo>
                    <a:pt x="1533" y="1883"/>
                  </a:lnTo>
                  <a:lnTo>
                    <a:pt x="1533" y="1883"/>
                  </a:lnTo>
                  <a:lnTo>
                    <a:pt x="1523" y="1841"/>
                  </a:lnTo>
                  <a:lnTo>
                    <a:pt x="1523" y="1841"/>
                  </a:lnTo>
                  <a:lnTo>
                    <a:pt x="1517" y="1862"/>
                  </a:lnTo>
                  <a:lnTo>
                    <a:pt x="1512" y="1885"/>
                  </a:lnTo>
                  <a:lnTo>
                    <a:pt x="1491" y="1965"/>
                  </a:lnTo>
                  <a:lnTo>
                    <a:pt x="1448" y="1965"/>
                  </a:lnTo>
                  <a:lnTo>
                    <a:pt x="1448" y="1963"/>
                  </a:lnTo>
                  <a:lnTo>
                    <a:pt x="1394" y="1770"/>
                  </a:lnTo>
                  <a:lnTo>
                    <a:pt x="1443" y="1770"/>
                  </a:lnTo>
                  <a:lnTo>
                    <a:pt x="1462" y="1842"/>
                  </a:lnTo>
                  <a:lnTo>
                    <a:pt x="1462" y="1842"/>
                  </a:lnTo>
                  <a:lnTo>
                    <a:pt x="1467" y="1865"/>
                  </a:lnTo>
                  <a:lnTo>
                    <a:pt x="1471" y="1890"/>
                  </a:lnTo>
                  <a:lnTo>
                    <a:pt x="1471" y="1890"/>
                  </a:lnTo>
                  <a:lnTo>
                    <a:pt x="1476" y="1865"/>
                  </a:lnTo>
                  <a:lnTo>
                    <a:pt x="1483" y="1841"/>
                  </a:lnTo>
                  <a:lnTo>
                    <a:pt x="1503" y="1770"/>
                  </a:lnTo>
                  <a:lnTo>
                    <a:pt x="1544" y="1770"/>
                  </a:lnTo>
                  <a:lnTo>
                    <a:pt x="1564" y="1841"/>
                  </a:lnTo>
                  <a:lnTo>
                    <a:pt x="1564" y="1841"/>
                  </a:lnTo>
                  <a:lnTo>
                    <a:pt x="1569" y="1865"/>
                  </a:lnTo>
                  <a:lnTo>
                    <a:pt x="1576" y="1890"/>
                  </a:lnTo>
                  <a:lnTo>
                    <a:pt x="1576" y="1890"/>
                  </a:lnTo>
                  <a:lnTo>
                    <a:pt x="1585" y="1841"/>
                  </a:lnTo>
                  <a:lnTo>
                    <a:pt x="1604" y="1770"/>
                  </a:lnTo>
                  <a:close/>
                  <a:moveTo>
                    <a:pt x="1749" y="1765"/>
                  </a:moveTo>
                  <a:lnTo>
                    <a:pt x="1749" y="1765"/>
                  </a:lnTo>
                  <a:lnTo>
                    <a:pt x="1739" y="1766"/>
                  </a:lnTo>
                  <a:lnTo>
                    <a:pt x="1730" y="1768"/>
                  </a:lnTo>
                  <a:lnTo>
                    <a:pt x="1721" y="1770"/>
                  </a:lnTo>
                  <a:lnTo>
                    <a:pt x="1713" y="1773"/>
                  </a:lnTo>
                  <a:lnTo>
                    <a:pt x="1705" y="1777"/>
                  </a:lnTo>
                  <a:lnTo>
                    <a:pt x="1698" y="1782"/>
                  </a:lnTo>
                  <a:lnTo>
                    <a:pt x="1691" y="1788"/>
                  </a:lnTo>
                  <a:lnTo>
                    <a:pt x="1685" y="1794"/>
                  </a:lnTo>
                  <a:lnTo>
                    <a:pt x="1680" y="1801"/>
                  </a:lnTo>
                  <a:lnTo>
                    <a:pt x="1674" y="1809"/>
                  </a:lnTo>
                  <a:lnTo>
                    <a:pt x="1670" y="1817"/>
                  </a:lnTo>
                  <a:lnTo>
                    <a:pt x="1666" y="1826"/>
                  </a:lnTo>
                  <a:lnTo>
                    <a:pt x="1664" y="1836"/>
                  </a:lnTo>
                  <a:lnTo>
                    <a:pt x="1662" y="1846"/>
                  </a:lnTo>
                  <a:lnTo>
                    <a:pt x="1661" y="1857"/>
                  </a:lnTo>
                  <a:lnTo>
                    <a:pt x="1660" y="1868"/>
                  </a:lnTo>
                  <a:lnTo>
                    <a:pt x="1660" y="1868"/>
                  </a:lnTo>
                  <a:lnTo>
                    <a:pt x="1661" y="1878"/>
                  </a:lnTo>
                  <a:lnTo>
                    <a:pt x="1662" y="1889"/>
                  </a:lnTo>
                  <a:lnTo>
                    <a:pt x="1664" y="1898"/>
                  </a:lnTo>
                  <a:lnTo>
                    <a:pt x="1666" y="1907"/>
                  </a:lnTo>
                  <a:lnTo>
                    <a:pt x="1670" y="1917"/>
                  </a:lnTo>
                  <a:lnTo>
                    <a:pt x="1674" y="1925"/>
                  </a:lnTo>
                  <a:lnTo>
                    <a:pt x="1680" y="1933"/>
                  </a:lnTo>
                  <a:lnTo>
                    <a:pt x="1685" y="1941"/>
                  </a:lnTo>
                  <a:lnTo>
                    <a:pt x="1691" y="1946"/>
                  </a:lnTo>
                  <a:lnTo>
                    <a:pt x="1698" y="1953"/>
                  </a:lnTo>
                  <a:lnTo>
                    <a:pt x="1705" y="1957"/>
                  </a:lnTo>
                  <a:lnTo>
                    <a:pt x="1713" y="1961"/>
                  </a:lnTo>
                  <a:lnTo>
                    <a:pt x="1721" y="1965"/>
                  </a:lnTo>
                  <a:lnTo>
                    <a:pt x="1730" y="1967"/>
                  </a:lnTo>
                  <a:lnTo>
                    <a:pt x="1739" y="1969"/>
                  </a:lnTo>
                  <a:lnTo>
                    <a:pt x="1749" y="1969"/>
                  </a:lnTo>
                  <a:lnTo>
                    <a:pt x="1749" y="1969"/>
                  </a:lnTo>
                  <a:lnTo>
                    <a:pt x="1758" y="1969"/>
                  </a:lnTo>
                  <a:lnTo>
                    <a:pt x="1767" y="1967"/>
                  </a:lnTo>
                  <a:lnTo>
                    <a:pt x="1775" y="1965"/>
                  </a:lnTo>
                  <a:lnTo>
                    <a:pt x="1783" y="1961"/>
                  </a:lnTo>
                  <a:lnTo>
                    <a:pt x="1791" y="1957"/>
                  </a:lnTo>
                  <a:lnTo>
                    <a:pt x="1799" y="1953"/>
                  </a:lnTo>
                  <a:lnTo>
                    <a:pt x="1806" y="1946"/>
                  </a:lnTo>
                  <a:lnTo>
                    <a:pt x="1811" y="1941"/>
                  </a:lnTo>
                  <a:lnTo>
                    <a:pt x="1818" y="1933"/>
                  </a:lnTo>
                  <a:lnTo>
                    <a:pt x="1822" y="1925"/>
                  </a:lnTo>
                  <a:lnTo>
                    <a:pt x="1827" y="1917"/>
                  </a:lnTo>
                  <a:lnTo>
                    <a:pt x="1830" y="1907"/>
                  </a:lnTo>
                  <a:lnTo>
                    <a:pt x="1832" y="1898"/>
                  </a:lnTo>
                  <a:lnTo>
                    <a:pt x="1835" y="1889"/>
                  </a:lnTo>
                  <a:lnTo>
                    <a:pt x="1836" y="1878"/>
                  </a:lnTo>
                  <a:lnTo>
                    <a:pt x="1836" y="1868"/>
                  </a:lnTo>
                  <a:lnTo>
                    <a:pt x="1836" y="1868"/>
                  </a:lnTo>
                  <a:lnTo>
                    <a:pt x="1836" y="1857"/>
                  </a:lnTo>
                  <a:lnTo>
                    <a:pt x="1835" y="1846"/>
                  </a:lnTo>
                  <a:lnTo>
                    <a:pt x="1832" y="1836"/>
                  </a:lnTo>
                  <a:lnTo>
                    <a:pt x="1830" y="1826"/>
                  </a:lnTo>
                  <a:lnTo>
                    <a:pt x="1827" y="1817"/>
                  </a:lnTo>
                  <a:lnTo>
                    <a:pt x="1822" y="1809"/>
                  </a:lnTo>
                  <a:lnTo>
                    <a:pt x="1818" y="1801"/>
                  </a:lnTo>
                  <a:lnTo>
                    <a:pt x="1811" y="1794"/>
                  </a:lnTo>
                  <a:lnTo>
                    <a:pt x="1806" y="1788"/>
                  </a:lnTo>
                  <a:lnTo>
                    <a:pt x="1799" y="1782"/>
                  </a:lnTo>
                  <a:lnTo>
                    <a:pt x="1791" y="1777"/>
                  </a:lnTo>
                  <a:lnTo>
                    <a:pt x="1783" y="1773"/>
                  </a:lnTo>
                  <a:lnTo>
                    <a:pt x="1775" y="1770"/>
                  </a:lnTo>
                  <a:lnTo>
                    <a:pt x="1767" y="1768"/>
                  </a:lnTo>
                  <a:lnTo>
                    <a:pt x="1758" y="1766"/>
                  </a:lnTo>
                  <a:lnTo>
                    <a:pt x="1749" y="1765"/>
                  </a:lnTo>
                  <a:lnTo>
                    <a:pt x="1749" y="1765"/>
                  </a:lnTo>
                  <a:close/>
                  <a:moveTo>
                    <a:pt x="1749" y="1923"/>
                  </a:moveTo>
                  <a:lnTo>
                    <a:pt x="1749" y="1923"/>
                  </a:lnTo>
                  <a:lnTo>
                    <a:pt x="1739" y="1922"/>
                  </a:lnTo>
                  <a:lnTo>
                    <a:pt x="1731" y="1919"/>
                  </a:lnTo>
                  <a:lnTo>
                    <a:pt x="1725" y="1914"/>
                  </a:lnTo>
                  <a:lnTo>
                    <a:pt x="1719" y="1909"/>
                  </a:lnTo>
                  <a:lnTo>
                    <a:pt x="1715" y="1899"/>
                  </a:lnTo>
                  <a:lnTo>
                    <a:pt x="1711" y="1890"/>
                  </a:lnTo>
                  <a:lnTo>
                    <a:pt x="1710" y="1879"/>
                  </a:lnTo>
                  <a:lnTo>
                    <a:pt x="1709" y="1868"/>
                  </a:lnTo>
                  <a:lnTo>
                    <a:pt x="1709" y="1868"/>
                  </a:lnTo>
                  <a:lnTo>
                    <a:pt x="1710" y="1856"/>
                  </a:lnTo>
                  <a:lnTo>
                    <a:pt x="1711" y="1844"/>
                  </a:lnTo>
                  <a:lnTo>
                    <a:pt x="1715" y="1834"/>
                  </a:lnTo>
                  <a:lnTo>
                    <a:pt x="1719" y="1826"/>
                  </a:lnTo>
                  <a:lnTo>
                    <a:pt x="1725" y="1820"/>
                  </a:lnTo>
                  <a:lnTo>
                    <a:pt x="1731" y="1814"/>
                  </a:lnTo>
                  <a:lnTo>
                    <a:pt x="1739" y="1812"/>
                  </a:lnTo>
                  <a:lnTo>
                    <a:pt x="1749" y="1810"/>
                  </a:lnTo>
                  <a:lnTo>
                    <a:pt x="1749" y="1810"/>
                  </a:lnTo>
                  <a:lnTo>
                    <a:pt x="1757" y="1812"/>
                  </a:lnTo>
                  <a:lnTo>
                    <a:pt x="1765" y="1814"/>
                  </a:lnTo>
                  <a:lnTo>
                    <a:pt x="1771" y="1820"/>
                  </a:lnTo>
                  <a:lnTo>
                    <a:pt x="1777" y="1826"/>
                  </a:lnTo>
                  <a:lnTo>
                    <a:pt x="1782" y="1834"/>
                  </a:lnTo>
                  <a:lnTo>
                    <a:pt x="1784" y="1844"/>
                  </a:lnTo>
                  <a:lnTo>
                    <a:pt x="1787" y="1856"/>
                  </a:lnTo>
                  <a:lnTo>
                    <a:pt x="1787" y="1868"/>
                  </a:lnTo>
                  <a:lnTo>
                    <a:pt x="1787" y="1868"/>
                  </a:lnTo>
                  <a:lnTo>
                    <a:pt x="1787" y="1879"/>
                  </a:lnTo>
                  <a:lnTo>
                    <a:pt x="1784" y="1890"/>
                  </a:lnTo>
                  <a:lnTo>
                    <a:pt x="1782" y="1899"/>
                  </a:lnTo>
                  <a:lnTo>
                    <a:pt x="1777" y="1909"/>
                  </a:lnTo>
                  <a:lnTo>
                    <a:pt x="1771" y="1914"/>
                  </a:lnTo>
                  <a:lnTo>
                    <a:pt x="1765" y="1919"/>
                  </a:lnTo>
                  <a:lnTo>
                    <a:pt x="1757" y="1922"/>
                  </a:lnTo>
                  <a:lnTo>
                    <a:pt x="1749" y="1923"/>
                  </a:lnTo>
                  <a:lnTo>
                    <a:pt x="1749" y="1923"/>
                  </a:lnTo>
                  <a:close/>
                  <a:moveTo>
                    <a:pt x="729" y="1834"/>
                  </a:moveTo>
                  <a:lnTo>
                    <a:pt x="789" y="1965"/>
                  </a:lnTo>
                  <a:lnTo>
                    <a:pt x="736" y="1965"/>
                  </a:lnTo>
                  <a:lnTo>
                    <a:pt x="695" y="1874"/>
                  </a:lnTo>
                  <a:lnTo>
                    <a:pt x="670" y="1906"/>
                  </a:lnTo>
                  <a:lnTo>
                    <a:pt x="670" y="1965"/>
                  </a:lnTo>
                  <a:lnTo>
                    <a:pt x="622" y="1965"/>
                  </a:lnTo>
                  <a:lnTo>
                    <a:pt x="622" y="1713"/>
                  </a:lnTo>
                  <a:lnTo>
                    <a:pt x="670" y="1689"/>
                  </a:lnTo>
                  <a:lnTo>
                    <a:pt x="670" y="1844"/>
                  </a:lnTo>
                  <a:lnTo>
                    <a:pt x="670" y="1844"/>
                  </a:lnTo>
                  <a:lnTo>
                    <a:pt x="688" y="1820"/>
                  </a:lnTo>
                  <a:lnTo>
                    <a:pt x="727" y="1770"/>
                  </a:lnTo>
                  <a:lnTo>
                    <a:pt x="781" y="1770"/>
                  </a:lnTo>
                  <a:lnTo>
                    <a:pt x="729" y="1834"/>
                  </a:lnTo>
                  <a:close/>
                  <a:moveTo>
                    <a:pt x="958" y="1965"/>
                  </a:moveTo>
                  <a:lnTo>
                    <a:pt x="910" y="1965"/>
                  </a:lnTo>
                  <a:lnTo>
                    <a:pt x="910" y="1770"/>
                  </a:lnTo>
                  <a:lnTo>
                    <a:pt x="958" y="1770"/>
                  </a:lnTo>
                  <a:lnTo>
                    <a:pt x="958" y="1786"/>
                  </a:lnTo>
                  <a:lnTo>
                    <a:pt x="958" y="1786"/>
                  </a:lnTo>
                  <a:lnTo>
                    <a:pt x="967" y="1777"/>
                  </a:lnTo>
                  <a:lnTo>
                    <a:pt x="979" y="1770"/>
                  </a:lnTo>
                  <a:lnTo>
                    <a:pt x="993" y="1766"/>
                  </a:lnTo>
                  <a:lnTo>
                    <a:pt x="1007" y="1765"/>
                  </a:lnTo>
                  <a:lnTo>
                    <a:pt x="1007" y="1765"/>
                  </a:lnTo>
                  <a:lnTo>
                    <a:pt x="1023" y="1768"/>
                  </a:lnTo>
                  <a:lnTo>
                    <a:pt x="1030" y="1769"/>
                  </a:lnTo>
                  <a:lnTo>
                    <a:pt x="1038" y="1772"/>
                  </a:lnTo>
                  <a:lnTo>
                    <a:pt x="1043" y="1774"/>
                  </a:lnTo>
                  <a:lnTo>
                    <a:pt x="1050" y="1778"/>
                  </a:lnTo>
                  <a:lnTo>
                    <a:pt x="1055" y="1784"/>
                  </a:lnTo>
                  <a:lnTo>
                    <a:pt x="1059" y="1788"/>
                  </a:lnTo>
                  <a:lnTo>
                    <a:pt x="1064" y="1794"/>
                  </a:lnTo>
                  <a:lnTo>
                    <a:pt x="1067" y="1801"/>
                  </a:lnTo>
                  <a:lnTo>
                    <a:pt x="1074" y="1816"/>
                  </a:lnTo>
                  <a:lnTo>
                    <a:pt x="1076" y="1834"/>
                  </a:lnTo>
                  <a:lnTo>
                    <a:pt x="1078" y="1854"/>
                  </a:lnTo>
                  <a:lnTo>
                    <a:pt x="1078" y="1965"/>
                  </a:lnTo>
                  <a:lnTo>
                    <a:pt x="1030" y="1965"/>
                  </a:lnTo>
                  <a:lnTo>
                    <a:pt x="1030" y="1857"/>
                  </a:lnTo>
                  <a:lnTo>
                    <a:pt x="1030" y="1857"/>
                  </a:lnTo>
                  <a:lnTo>
                    <a:pt x="1030" y="1846"/>
                  </a:lnTo>
                  <a:lnTo>
                    <a:pt x="1027" y="1836"/>
                  </a:lnTo>
                  <a:lnTo>
                    <a:pt x="1024" y="1828"/>
                  </a:lnTo>
                  <a:lnTo>
                    <a:pt x="1022" y="1821"/>
                  </a:lnTo>
                  <a:lnTo>
                    <a:pt x="1016" y="1816"/>
                  </a:lnTo>
                  <a:lnTo>
                    <a:pt x="1010" y="1813"/>
                  </a:lnTo>
                  <a:lnTo>
                    <a:pt x="1003" y="1810"/>
                  </a:lnTo>
                  <a:lnTo>
                    <a:pt x="995" y="1810"/>
                  </a:lnTo>
                  <a:lnTo>
                    <a:pt x="995" y="1810"/>
                  </a:lnTo>
                  <a:lnTo>
                    <a:pt x="986" y="1810"/>
                  </a:lnTo>
                  <a:lnTo>
                    <a:pt x="979" y="1813"/>
                  </a:lnTo>
                  <a:lnTo>
                    <a:pt x="973" y="1817"/>
                  </a:lnTo>
                  <a:lnTo>
                    <a:pt x="967" y="1822"/>
                  </a:lnTo>
                  <a:lnTo>
                    <a:pt x="963" y="1829"/>
                  </a:lnTo>
                  <a:lnTo>
                    <a:pt x="961" y="1837"/>
                  </a:lnTo>
                  <a:lnTo>
                    <a:pt x="958" y="1846"/>
                  </a:lnTo>
                  <a:lnTo>
                    <a:pt x="958" y="1857"/>
                  </a:lnTo>
                  <a:lnTo>
                    <a:pt x="958" y="1965"/>
                  </a:lnTo>
                  <a:close/>
                  <a:moveTo>
                    <a:pt x="1229" y="1784"/>
                  </a:moveTo>
                  <a:lnTo>
                    <a:pt x="1229" y="1784"/>
                  </a:lnTo>
                  <a:lnTo>
                    <a:pt x="1220" y="1776"/>
                  </a:lnTo>
                  <a:lnTo>
                    <a:pt x="1209" y="1770"/>
                  </a:lnTo>
                  <a:lnTo>
                    <a:pt x="1199" y="1766"/>
                  </a:lnTo>
                  <a:lnTo>
                    <a:pt x="1187" y="1765"/>
                  </a:lnTo>
                  <a:lnTo>
                    <a:pt x="1187" y="1765"/>
                  </a:lnTo>
                  <a:lnTo>
                    <a:pt x="1177" y="1766"/>
                  </a:lnTo>
                  <a:lnTo>
                    <a:pt x="1169" y="1768"/>
                  </a:lnTo>
                  <a:lnTo>
                    <a:pt x="1161" y="1769"/>
                  </a:lnTo>
                  <a:lnTo>
                    <a:pt x="1155" y="1773"/>
                  </a:lnTo>
                  <a:lnTo>
                    <a:pt x="1148" y="1776"/>
                  </a:lnTo>
                  <a:lnTo>
                    <a:pt x="1141" y="1781"/>
                  </a:lnTo>
                  <a:lnTo>
                    <a:pt x="1136" y="1786"/>
                  </a:lnTo>
                  <a:lnTo>
                    <a:pt x="1131" y="1793"/>
                  </a:lnTo>
                  <a:lnTo>
                    <a:pt x="1125" y="1800"/>
                  </a:lnTo>
                  <a:lnTo>
                    <a:pt x="1121" y="1806"/>
                  </a:lnTo>
                  <a:lnTo>
                    <a:pt x="1115" y="1824"/>
                  </a:lnTo>
                  <a:lnTo>
                    <a:pt x="1111" y="1844"/>
                  </a:lnTo>
                  <a:lnTo>
                    <a:pt x="1109" y="1865"/>
                  </a:lnTo>
                  <a:lnTo>
                    <a:pt x="1109" y="1865"/>
                  </a:lnTo>
                  <a:lnTo>
                    <a:pt x="1111" y="1889"/>
                  </a:lnTo>
                  <a:lnTo>
                    <a:pt x="1115" y="1909"/>
                  </a:lnTo>
                  <a:lnTo>
                    <a:pt x="1121" y="1926"/>
                  </a:lnTo>
                  <a:lnTo>
                    <a:pt x="1125" y="1934"/>
                  </a:lnTo>
                  <a:lnTo>
                    <a:pt x="1129" y="1941"/>
                  </a:lnTo>
                  <a:lnTo>
                    <a:pt x="1135" y="1947"/>
                  </a:lnTo>
                  <a:lnTo>
                    <a:pt x="1140" y="1953"/>
                  </a:lnTo>
                  <a:lnTo>
                    <a:pt x="1147" y="1958"/>
                  </a:lnTo>
                  <a:lnTo>
                    <a:pt x="1153" y="1962"/>
                  </a:lnTo>
                  <a:lnTo>
                    <a:pt x="1161" y="1965"/>
                  </a:lnTo>
                  <a:lnTo>
                    <a:pt x="1168" y="1967"/>
                  </a:lnTo>
                  <a:lnTo>
                    <a:pt x="1176" y="1969"/>
                  </a:lnTo>
                  <a:lnTo>
                    <a:pt x="1185" y="1969"/>
                  </a:lnTo>
                  <a:lnTo>
                    <a:pt x="1185" y="1969"/>
                  </a:lnTo>
                  <a:lnTo>
                    <a:pt x="1197" y="1967"/>
                  </a:lnTo>
                  <a:lnTo>
                    <a:pt x="1209" y="1963"/>
                  </a:lnTo>
                  <a:lnTo>
                    <a:pt x="1220" y="1958"/>
                  </a:lnTo>
                  <a:lnTo>
                    <a:pt x="1229" y="1950"/>
                  </a:lnTo>
                  <a:lnTo>
                    <a:pt x="1229" y="1954"/>
                  </a:lnTo>
                  <a:lnTo>
                    <a:pt x="1229" y="1954"/>
                  </a:lnTo>
                  <a:lnTo>
                    <a:pt x="1229" y="1962"/>
                  </a:lnTo>
                  <a:lnTo>
                    <a:pt x="1228" y="1971"/>
                  </a:lnTo>
                  <a:lnTo>
                    <a:pt x="1226" y="1979"/>
                  </a:lnTo>
                  <a:lnTo>
                    <a:pt x="1221" y="1987"/>
                  </a:lnTo>
                  <a:lnTo>
                    <a:pt x="1218" y="1991"/>
                  </a:lnTo>
                  <a:lnTo>
                    <a:pt x="1214" y="1995"/>
                  </a:lnTo>
                  <a:lnTo>
                    <a:pt x="1209" y="1998"/>
                  </a:lnTo>
                  <a:lnTo>
                    <a:pt x="1203" y="2000"/>
                  </a:lnTo>
                  <a:lnTo>
                    <a:pt x="1188" y="2004"/>
                  </a:lnTo>
                  <a:lnTo>
                    <a:pt x="1167" y="2006"/>
                  </a:lnTo>
                  <a:lnTo>
                    <a:pt x="1165" y="2006"/>
                  </a:lnTo>
                  <a:lnTo>
                    <a:pt x="1181" y="2043"/>
                  </a:lnTo>
                  <a:lnTo>
                    <a:pt x="1183" y="2043"/>
                  </a:lnTo>
                  <a:lnTo>
                    <a:pt x="1183" y="2043"/>
                  </a:lnTo>
                  <a:lnTo>
                    <a:pt x="1205" y="2042"/>
                  </a:lnTo>
                  <a:lnTo>
                    <a:pt x="1214" y="2039"/>
                  </a:lnTo>
                  <a:lnTo>
                    <a:pt x="1224" y="2036"/>
                  </a:lnTo>
                  <a:lnTo>
                    <a:pt x="1233" y="2034"/>
                  </a:lnTo>
                  <a:lnTo>
                    <a:pt x="1241" y="2030"/>
                  </a:lnTo>
                  <a:lnTo>
                    <a:pt x="1248" y="2024"/>
                  </a:lnTo>
                  <a:lnTo>
                    <a:pt x="1254" y="2019"/>
                  </a:lnTo>
                  <a:lnTo>
                    <a:pt x="1260" y="2012"/>
                  </a:lnTo>
                  <a:lnTo>
                    <a:pt x="1264" y="2004"/>
                  </a:lnTo>
                  <a:lnTo>
                    <a:pt x="1268" y="1998"/>
                  </a:lnTo>
                  <a:lnTo>
                    <a:pt x="1272" y="1988"/>
                  </a:lnTo>
                  <a:lnTo>
                    <a:pt x="1274" y="1979"/>
                  </a:lnTo>
                  <a:lnTo>
                    <a:pt x="1276" y="1969"/>
                  </a:lnTo>
                  <a:lnTo>
                    <a:pt x="1277" y="1946"/>
                  </a:lnTo>
                  <a:lnTo>
                    <a:pt x="1277" y="1770"/>
                  </a:lnTo>
                  <a:lnTo>
                    <a:pt x="1229" y="1770"/>
                  </a:lnTo>
                  <a:lnTo>
                    <a:pt x="1229" y="1784"/>
                  </a:lnTo>
                  <a:close/>
                  <a:moveTo>
                    <a:pt x="1229" y="1829"/>
                  </a:moveTo>
                  <a:lnTo>
                    <a:pt x="1229" y="1905"/>
                  </a:lnTo>
                  <a:lnTo>
                    <a:pt x="1229" y="1905"/>
                  </a:lnTo>
                  <a:lnTo>
                    <a:pt x="1222" y="1913"/>
                  </a:lnTo>
                  <a:lnTo>
                    <a:pt x="1216" y="1918"/>
                  </a:lnTo>
                  <a:lnTo>
                    <a:pt x="1206" y="1922"/>
                  </a:lnTo>
                  <a:lnTo>
                    <a:pt x="1201" y="1923"/>
                  </a:lnTo>
                  <a:lnTo>
                    <a:pt x="1195" y="1925"/>
                  </a:lnTo>
                  <a:lnTo>
                    <a:pt x="1195" y="1925"/>
                  </a:lnTo>
                  <a:lnTo>
                    <a:pt x="1189" y="1923"/>
                  </a:lnTo>
                  <a:lnTo>
                    <a:pt x="1183" y="1922"/>
                  </a:lnTo>
                  <a:lnTo>
                    <a:pt x="1176" y="1918"/>
                  </a:lnTo>
                  <a:lnTo>
                    <a:pt x="1171" y="1913"/>
                  </a:lnTo>
                  <a:lnTo>
                    <a:pt x="1167" y="1905"/>
                  </a:lnTo>
                  <a:lnTo>
                    <a:pt x="1163" y="1894"/>
                  </a:lnTo>
                  <a:lnTo>
                    <a:pt x="1160" y="1881"/>
                  </a:lnTo>
                  <a:lnTo>
                    <a:pt x="1159" y="1864"/>
                  </a:lnTo>
                  <a:lnTo>
                    <a:pt x="1159" y="1864"/>
                  </a:lnTo>
                  <a:lnTo>
                    <a:pt x="1160" y="1849"/>
                  </a:lnTo>
                  <a:lnTo>
                    <a:pt x="1163" y="1837"/>
                  </a:lnTo>
                  <a:lnTo>
                    <a:pt x="1165" y="1828"/>
                  </a:lnTo>
                  <a:lnTo>
                    <a:pt x="1171" y="1820"/>
                  </a:lnTo>
                  <a:lnTo>
                    <a:pt x="1176" y="1816"/>
                  </a:lnTo>
                  <a:lnTo>
                    <a:pt x="1183" y="1812"/>
                  </a:lnTo>
                  <a:lnTo>
                    <a:pt x="1188" y="1810"/>
                  </a:lnTo>
                  <a:lnTo>
                    <a:pt x="1195" y="1810"/>
                  </a:lnTo>
                  <a:lnTo>
                    <a:pt x="1195" y="1810"/>
                  </a:lnTo>
                  <a:lnTo>
                    <a:pt x="1201" y="1810"/>
                  </a:lnTo>
                  <a:lnTo>
                    <a:pt x="1206" y="1812"/>
                  </a:lnTo>
                  <a:lnTo>
                    <a:pt x="1212" y="1813"/>
                  </a:lnTo>
                  <a:lnTo>
                    <a:pt x="1217" y="1816"/>
                  </a:lnTo>
                  <a:lnTo>
                    <a:pt x="1224" y="1822"/>
                  </a:lnTo>
                  <a:lnTo>
                    <a:pt x="1229" y="1829"/>
                  </a:lnTo>
                  <a:lnTo>
                    <a:pt x="1229" y="1829"/>
                  </a:lnTo>
                  <a:close/>
                  <a:moveTo>
                    <a:pt x="818" y="1770"/>
                  </a:moveTo>
                  <a:lnTo>
                    <a:pt x="866" y="1770"/>
                  </a:lnTo>
                  <a:lnTo>
                    <a:pt x="866" y="1853"/>
                  </a:lnTo>
                  <a:lnTo>
                    <a:pt x="866" y="1965"/>
                  </a:lnTo>
                  <a:lnTo>
                    <a:pt x="818" y="1965"/>
                  </a:lnTo>
                  <a:lnTo>
                    <a:pt x="818" y="1770"/>
                  </a:lnTo>
                  <a:close/>
                  <a:moveTo>
                    <a:pt x="866" y="1721"/>
                  </a:moveTo>
                  <a:lnTo>
                    <a:pt x="866" y="1743"/>
                  </a:lnTo>
                  <a:lnTo>
                    <a:pt x="818" y="1743"/>
                  </a:lnTo>
                  <a:lnTo>
                    <a:pt x="818" y="1695"/>
                  </a:lnTo>
                  <a:lnTo>
                    <a:pt x="866" y="1695"/>
                  </a:lnTo>
                  <a:lnTo>
                    <a:pt x="866" y="1721"/>
                  </a:lnTo>
                  <a:close/>
                  <a:moveTo>
                    <a:pt x="2016" y="1713"/>
                  </a:moveTo>
                  <a:lnTo>
                    <a:pt x="2065" y="1689"/>
                  </a:lnTo>
                  <a:lnTo>
                    <a:pt x="2065" y="1865"/>
                  </a:lnTo>
                  <a:lnTo>
                    <a:pt x="2065" y="1965"/>
                  </a:lnTo>
                  <a:lnTo>
                    <a:pt x="2016" y="1965"/>
                  </a:lnTo>
                  <a:lnTo>
                    <a:pt x="2016" y="1713"/>
                  </a:lnTo>
                  <a:close/>
                  <a:moveTo>
                    <a:pt x="347" y="660"/>
                  </a:moveTo>
                  <a:lnTo>
                    <a:pt x="741" y="660"/>
                  </a:lnTo>
                  <a:lnTo>
                    <a:pt x="741" y="432"/>
                  </a:lnTo>
                  <a:lnTo>
                    <a:pt x="347" y="432"/>
                  </a:lnTo>
                  <a:lnTo>
                    <a:pt x="347" y="251"/>
                  </a:lnTo>
                  <a:lnTo>
                    <a:pt x="784" y="251"/>
                  </a:lnTo>
                  <a:lnTo>
                    <a:pt x="639" y="0"/>
                  </a:lnTo>
                  <a:lnTo>
                    <a:pt x="20" y="0"/>
                  </a:lnTo>
                  <a:lnTo>
                    <a:pt x="20" y="1092"/>
                  </a:lnTo>
                  <a:lnTo>
                    <a:pt x="893" y="1092"/>
                  </a:lnTo>
                  <a:lnTo>
                    <a:pt x="893" y="841"/>
                  </a:lnTo>
                  <a:lnTo>
                    <a:pt x="347" y="841"/>
                  </a:lnTo>
                  <a:lnTo>
                    <a:pt x="347" y="660"/>
                  </a:lnTo>
                  <a:close/>
                  <a:moveTo>
                    <a:pt x="1475" y="0"/>
                  </a:moveTo>
                  <a:lnTo>
                    <a:pt x="1289" y="356"/>
                  </a:lnTo>
                  <a:lnTo>
                    <a:pt x="1104" y="0"/>
                  </a:lnTo>
                  <a:lnTo>
                    <a:pt x="741" y="0"/>
                  </a:lnTo>
                  <a:lnTo>
                    <a:pt x="1124" y="660"/>
                  </a:lnTo>
                  <a:lnTo>
                    <a:pt x="1124" y="1092"/>
                  </a:lnTo>
                  <a:lnTo>
                    <a:pt x="1451" y="1092"/>
                  </a:lnTo>
                  <a:lnTo>
                    <a:pt x="1451" y="660"/>
                  </a:lnTo>
                  <a:lnTo>
                    <a:pt x="1832" y="0"/>
                  </a:lnTo>
                  <a:lnTo>
                    <a:pt x="1475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046875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2821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96000"/>
            <a:ext cx="40428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78000"/>
            <a:ext cx="40428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90400"/>
            <a:ext cx="40428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90400"/>
            <a:ext cx="40428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3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2417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52400" y="5107354"/>
            <a:ext cx="851877" cy="159433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2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31908" y="5263661"/>
            <a:ext cx="851877" cy="159433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200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" y="0"/>
            <a:ext cx="351692" cy="1594339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200" dirty="0">
              <a:solidFill>
                <a:schemeClr val="tx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777240"/>
            <a:ext cx="6753225" cy="3400425"/>
          </a:xfrm>
          <a:prstGeom prst="rect">
            <a:avLst/>
          </a:prstGeom>
        </p:spPr>
      </p:pic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886968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886968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Rectangle 1"/>
          <p:cNvSpPr>
            <a:spLocks noChangeAspect="1"/>
          </p:cNvSpPr>
          <p:nvPr userDrawn="1"/>
        </p:nvSpPr>
        <p:spPr>
          <a:xfrm>
            <a:off x="454818" y="797169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56332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Line 11"/>
          <p:cNvSpPr>
            <a:spLocks noChangeShapeType="1"/>
          </p:cNvSpPr>
          <p:nvPr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4269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858649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305991" y="1144857"/>
            <a:ext cx="8531107" cy="5307954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8772" y="2626154"/>
            <a:ext cx="6546456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3150" kern="0" spc="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8772" y="4165602"/>
            <a:ext cx="6546456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50" kern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sv-SE" dirty="0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8772" y="4606638"/>
            <a:ext cx="6546456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305990" y="580165"/>
            <a:ext cx="648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825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  <p:pic>
        <p:nvPicPr>
          <p:cNvPr id="8" name="Bildobjekt 7" descr="Logo" title="Logo">
            <a:extLst>
              <a:ext uri="{FF2B5EF4-FFF2-40B4-BE49-F238E27FC236}">
                <a16:creationId xmlns:a16="http://schemas.microsoft.com/office/drawing/2014/main" id="{2DF30E6D-8B83-4DA1-ADDE-3B4546276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23346" y="401984"/>
            <a:ext cx="1111092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2412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ubrik och innehåll">
    <p:bg>
      <p:bgPr>
        <a:solidFill>
          <a:srgbClr val="8AC2E6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374" y="0"/>
            <a:ext cx="4329626" cy="5767198"/>
          </a:xfrm>
          <a:prstGeom prst="rect">
            <a:avLst/>
          </a:prstGeom>
        </p:spPr>
      </p:pic>
      <p:sp>
        <p:nvSpPr>
          <p:cNvPr id="12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31875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4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3187533" cy="4166998"/>
          </a:xfrm>
        </p:spPr>
        <p:txBody>
          <a:bodyPr/>
          <a:lstStyle>
            <a:lvl1pPr>
              <a:defRPr sz="2800" baseline="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215654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792000" y="1738313"/>
            <a:ext cx="7560000" cy="4175124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040785F0-4073-4C09-A77E-AF825CBA6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7024412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1736729"/>
            <a:ext cx="4050000" cy="417671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4438" y="1736729"/>
            <a:ext cx="4050000" cy="417671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C9B43C6-89FD-4564-BB62-9B67C1AE2E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567322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5991" y="1588563"/>
            <a:ext cx="395856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875" indent="0">
              <a:buNone/>
              <a:defRPr sz="1500" b="1"/>
            </a:lvl2pPr>
            <a:lvl3pPr marL="685749" indent="0">
              <a:buNone/>
              <a:defRPr sz="135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5991" y="2281031"/>
            <a:ext cx="3958560" cy="3524684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24000" y="1591385"/>
            <a:ext cx="396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875" indent="0">
              <a:buNone/>
              <a:defRPr sz="1500" b="1"/>
            </a:lvl2pPr>
            <a:lvl3pPr marL="685749" indent="0">
              <a:buNone/>
              <a:defRPr sz="135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24000" y="2281035"/>
            <a:ext cx="396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B0B39BD-A593-4A83-AD46-53A96C2F78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646577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1AB884-926D-4607-993A-83391A779C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350278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312807" y="1736728"/>
            <a:ext cx="4259194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5699194" y="1738314"/>
            <a:ext cx="3132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BA6D7259-E2CF-428A-9B5C-9AEE444FC1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2208450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572000" y="1736728"/>
            <a:ext cx="4266010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05991" y="1738314"/>
            <a:ext cx="3132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EAD5FAA-1657-4061-B125-FAABE5DDE2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479174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05991" y="1738313"/>
            <a:ext cx="27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5991" y="5528974"/>
            <a:ext cx="27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50"/>
            </a:lvl1pPr>
            <a:lvl2pPr marL="342875" indent="0">
              <a:buNone/>
              <a:defRPr sz="1050"/>
            </a:lvl2pPr>
            <a:lvl3pPr marL="685749" indent="0">
              <a:buNone/>
              <a:defRPr sz="900"/>
            </a:lvl3pPr>
            <a:lvl4pPr marL="1028624" indent="0">
              <a:buNone/>
              <a:defRPr sz="750"/>
            </a:lvl4pPr>
            <a:lvl5pPr marL="1371498" indent="0">
              <a:buNone/>
              <a:defRPr sz="750"/>
            </a:lvl5pPr>
            <a:lvl6pPr marL="1714373" indent="0">
              <a:buNone/>
              <a:defRPr sz="750"/>
            </a:lvl6pPr>
            <a:lvl7pPr marL="2057246" indent="0">
              <a:buNone/>
              <a:defRPr sz="750"/>
            </a:lvl7pPr>
            <a:lvl8pPr marL="2400120" indent="0">
              <a:buNone/>
              <a:defRPr sz="750"/>
            </a:lvl8pPr>
            <a:lvl9pPr marL="2742995" indent="0">
              <a:buNone/>
              <a:defRPr sz="75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3222000" y="1738313"/>
            <a:ext cx="27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3222000" y="5528974"/>
            <a:ext cx="27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50"/>
            </a:lvl1pPr>
            <a:lvl2pPr marL="342875" indent="0">
              <a:buNone/>
              <a:defRPr sz="1050"/>
            </a:lvl2pPr>
            <a:lvl3pPr marL="685749" indent="0">
              <a:buNone/>
              <a:defRPr sz="900"/>
            </a:lvl3pPr>
            <a:lvl4pPr marL="1028624" indent="0">
              <a:buNone/>
              <a:defRPr sz="750"/>
            </a:lvl4pPr>
            <a:lvl5pPr marL="1371498" indent="0">
              <a:buNone/>
              <a:defRPr sz="750"/>
            </a:lvl5pPr>
            <a:lvl6pPr marL="1714373" indent="0">
              <a:buNone/>
              <a:defRPr sz="750"/>
            </a:lvl6pPr>
            <a:lvl7pPr marL="2057246" indent="0">
              <a:buNone/>
              <a:defRPr sz="750"/>
            </a:lvl7pPr>
            <a:lvl8pPr marL="2400120" indent="0">
              <a:buNone/>
              <a:defRPr sz="750"/>
            </a:lvl8pPr>
            <a:lvl9pPr marL="2742995" indent="0">
              <a:buNone/>
              <a:defRPr sz="75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138010" y="1738313"/>
            <a:ext cx="27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138010" y="5528974"/>
            <a:ext cx="27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50"/>
            </a:lvl1pPr>
            <a:lvl2pPr marL="342875" indent="0">
              <a:buNone/>
              <a:defRPr sz="1050"/>
            </a:lvl2pPr>
            <a:lvl3pPr marL="685749" indent="0">
              <a:buNone/>
              <a:defRPr sz="900"/>
            </a:lvl3pPr>
            <a:lvl4pPr marL="1028624" indent="0">
              <a:buNone/>
              <a:defRPr sz="750"/>
            </a:lvl4pPr>
            <a:lvl5pPr marL="1371498" indent="0">
              <a:buNone/>
              <a:defRPr sz="750"/>
            </a:lvl5pPr>
            <a:lvl6pPr marL="1714373" indent="0">
              <a:buNone/>
              <a:defRPr sz="750"/>
            </a:lvl6pPr>
            <a:lvl7pPr marL="2057246" indent="0">
              <a:buNone/>
              <a:defRPr sz="750"/>
            </a:lvl7pPr>
            <a:lvl8pPr marL="2400120" indent="0">
              <a:buNone/>
              <a:defRPr sz="750"/>
            </a:lvl8pPr>
            <a:lvl9pPr marL="2742995" indent="0">
              <a:buNone/>
              <a:defRPr sz="75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44BB15C-87DA-407B-A8B6-CA070A8D70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924181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4742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999" y="6376989"/>
            <a:ext cx="4212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6631" y="2404809"/>
            <a:ext cx="6850742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3375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5514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4F5195-589E-4BA5-AA31-A11EABAE75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656413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Rubrik och innehåll">
    <p:bg>
      <p:bgPr>
        <a:solidFill>
          <a:srgbClr val="8AC2E6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374" y="0"/>
            <a:ext cx="4329626" cy="5767198"/>
          </a:xfrm>
          <a:prstGeom prst="rect">
            <a:avLst/>
          </a:prstGeom>
        </p:spPr>
      </p:pic>
      <p:sp>
        <p:nvSpPr>
          <p:cNvPr id="12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31875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4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3187533" cy="4166998"/>
          </a:xfrm>
        </p:spPr>
        <p:txBody>
          <a:bodyPr/>
          <a:lstStyle>
            <a:lvl1pPr>
              <a:defRPr sz="2800" baseline="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3511240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953435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5992" y="404813"/>
            <a:ext cx="8532018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973603"/>
            <a:ext cx="636273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305991" y="6453188"/>
            <a:ext cx="648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788" dirty="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A42DC399-9929-4DB1-86A7-EDD1619A0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73981" y="6168925"/>
            <a:ext cx="960203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659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966CA57-627C-4882-9601-245D15D92392}"/>
              </a:ext>
            </a:extLst>
          </p:cNvPr>
          <p:cNvSpPr/>
          <p:nvPr userDrawn="1"/>
        </p:nvSpPr>
        <p:spPr>
          <a:xfrm>
            <a:off x="305991" y="404813"/>
            <a:ext cx="8532019" cy="550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6631" y="2404810"/>
            <a:ext cx="6850742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3375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F8CA43A6-7E16-4DBD-AD75-D68133193CDD}"/>
              </a:ext>
            </a:extLst>
          </p:cNvPr>
          <p:cNvSpPr txBox="1"/>
          <p:nvPr userDrawn="1"/>
        </p:nvSpPr>
        <p:spPr>
          <a:xfrm>
            <a:off x="305991" y="6453188"/>
            <a:ext cx="648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788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pic>
        <p:nvPicPr>
          <p:cNvPr id="6" name="Bildobjekt 5" descr="Logo" title="Logo">
            <a:extLst>
              <a:ext uri="{FF2B5EF4-FFF2-40B4-BE49-F238E27FC236}">
                <a16:creationId xmlns:a16="http://schemas.microsoft.com/office/drawing/2014/main" id="{1BFA490F-F636-4FBD-9551-5FE7BB924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73981" y="6168925"/>
            <a:ext cx="960203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96987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305991" y="1144857"/>
            <a:ext cx="8531107" cy="5307954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 dirty="0"/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305990" y="580165"/>
            <a:ext cx="648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825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065488" y="2405064"/>
            <a:ext cx="2269503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 sz="1275" dirty="0"/>
              <a:t>Kontakt</a:t>
            </a:r>
          </a:p>
        </p:txBody>
      </p:sp>
      <p:pic>
        <p:nvPicPr>
          <p:cNvPr id="13" name="Bildobjekt 12" descr="Logo" title="Logo">
            <a:extLst>
              <a:ext uri="{FF2B5EF4-FFF2-40B4-BE49-F238E27FC236}">
                <a16:creationId xmlns:a16="http://schemas.microsoft.com/office/drawing/2014/main" id="{8FA31A6C-4824-4084-8D71-178D8B56B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23346" y="401984"/>
            <a:ext cx="1111092" cy="499915"/>
          </a:xfrm>
          <a:prstGeom prst="rect">
            <a:avLst/>
          </a:prstGeom>
        </p:spPr>
      </p:pic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483A67E9-807F-424F-890D-A3A5CA39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5487" y="2830624"/>
            <a:ext cx="4611659" cy="2971086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Avdelning</a:t>
            </a:r>
            <a:br>
              <a:rPr lang="sv-SE" dirty="0"/>
            </a:br>
            <a:r>
              <a:rPr lang="sv-SE" dirty="0"/>
              <a:t>Område, Göteborgs Stad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/>
              <a:t>namn@namn.se</a:t>
            </a:r>
          </a:p>
        </p:txBody>
      </p:sp>
    </p:spTree>
    <p:extLst>
      <p:ext uri="{BB962C8B-B14F-4D97-AF65-F5344CB8AC3E}">
        <p14:creationId xmlns:p14="http://schemas.microsoft.com/office/powerpoint/2010/main" val="6605728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F12769C-ECF3-448E-A565-83EEEC398E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37030" y="2300663"/>
            <a:ext cx="1069941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9412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305991" y="1144857"/>
            <a:ext cx="8531107" cy="53079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8772" y="2626154"/>
            <a:ext cx="6546456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3150" kern="0" spc="0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8772" y="4165602"/>
            <a:ext cx="6546456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50" kern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sv-SE" dirty="0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98772" y="4606638"/>
            <a:ext cx="6546456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305990" y="580165"/>
            <a:ext cx="648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825" dirty="0">
                <a:latin typeface="+mn-lt"/>
              </a:rPr>
              <a:t>Hållbar stad – öppen för världen</a:t>
            </a:r>
          </a:p>
        </p:txBody>
      </p:sp>
      <p:pic>
        <p:nvPicPr>
          <p:cNvPr id="8" name="Bildobjekt 7" descr="Logo" title="Logo">
            <a:extLst>
              <a:ext uri="{FF2B5EF4-FFF2-40B4-BE49-F238E27FC236}">
                <a16:creationId xmlns:a16="http://schemas.microsoft.com/office/drawing/2014/main" id="{2DF30E6D-8B83-4DA1-ADDE-3B45462766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23346" y="401984"/>
            <a:ext cx="1111092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3509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792000" y="1738313"/>
            <a:ext cx="7560000" cy="4175124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AF1C70CC-B8D4-4719-BB1B-23D6C9B71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2000" y="6453188"/>
            <a:ext cx="482438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905901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1736729"/>
            <a:ext cx="405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4438" y="1736729"/>
            <a:ext cx="4050000" cy="4176710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C9B43C6-89FD-4564-BB62-9B67C1AE2E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52000" y="6453188"/>
            <a:ext cx="482438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5628543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5991" y="1588563"/>
            <a:ext cx="395856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875" indent="0">
              <a:buNone/>
              <a:defRPr sz="1500" b="1"/>
            </a:lvl2pPr>
            <a:lvl3pPr marL="685749" indent="0">
              <a:buNone/>
              <a:defRPr sz="135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5991" y="2281031"/>
            <a:ext cx="3958560" cy="3524684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24000" y="1591385"/>
            <a:ext cx="396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875" indent="0">
              <a:buNone/>
              <a:defRPr sz="1500" b="1"/>
            </a:lvl2pPr>
            <a:lvl3pPr marL="685749" indent="0">
              <a:buNone/>
              <a:defRPr sz="135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24000" y="2281035"/>
            <a:ext cx="396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5B0B39BD-A593-4A83-AD46-53A96C2F78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52000" y="6453188"/>
            <a:ext cx="482438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9898246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bildnummer 2">
            <a:extLst>
              <a:ext uri="{FF2B5EF4-FFF2-40B4-BE49-F238E27FC236}">
                <a16:creationId xmlns:a16="http://schemas.microsoft.com/office/drawing/2014/main" id="{471AB884-926D-4607-993A-83391A779C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52000" y="6453188"/>
            <a:ext cx="482438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5137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Rubrik och innehåll">
    <p:bg>
      <p:bgPr>
        <a:solidFill>
          <a:srgbClr val="8AC2E6">
            <a:alpha val="7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/>
        </p:nvSpPr>
        <p:spPr>
          <a:xfrm flipV="1">
            <a:off x="4400" y="5767198"/>
            <a:ext cx="9139600" cy="10908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/>
          </a:p>
        </p:txBody>
      </p:sp>
      <p:sp>
        <p:nvSpPr>
          <p:cNvPr id="8" name="textruta 7"/>
          <p:cNvSpPr txBox="1"/>
          <p:nvPr userDrawn="1"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9" name="Bildobjekt 8" descr="GS_logo_co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  <p:pic>
        <p:nvPicPr>
          <p:cNvPr id="13" name="Bildobjekt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4374" y="8467"/>
            <a:ext cx="4329626" cy="5767198"/>
          </a:xfrm>
          <a:prstGeom prst="rect">
            <a:avLst/>
          </a:prstGeom>
        </p:spPr>
      </p:pic>
      <p:sp>
        <p:nvSpPr>
          <p:cNvPr id="12" name="Rubrik 1"/>
          <p:cNvSpPr>
            <a:spLocks noGrp="1"/>
          </p:cNvSpPr>
          <p:nvPr>
            <p:ph type="title" hasCustomPrompt="1"/>
          </p:nvPr>
        </p:nvSpPr>
        <p:spPr>
          <a:xfrm>
            <a:off x="720000" y="274638"/>
            <a:ext cx="3187533" cy="1143000"/>
          </a:xfrm>
        </p:spPr>
        <p:txBody>
          <a:bodyPr anchor="t" anchorCtr="0"/>
          <a:lstStyle>
            <a:lvl1pPr algn="l">
              <a:defRPr>
                <a:solidFill>
                  <a:srgbClr val="00458A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4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720000" y="1417638"/>
            <a:ext cx="3187533" cy="4166998"/>
          </a:xfrm>
        </p:spPr>
        <p:txBody>
          <a:bodyPr/>
          <a:lstStyle>
            <a:lvl1pPr>
              <a:defRPr sz="2800" baseline="0">
                <a:solidFill>
                  <a:srgbClr val="00458A"/>
                </a:solidFill>
              </a:defRPr>
            </a:lvl1pPr>
            <a:lvl2pPr>
              <a:defRPr sz="2400">
                <a:solidFill>
                  <a:srgbClr val="00458A"/>
                </a:solidFill>
              </a:defRPr>
            </a:lvl2pPr>
            <a:lvl3pPr>
              <a:defRPr sz="2000">
                <a:solidFill>
                  <a:srgbClr val="00458A"/>
                </a:solidFill>
              </a:defRPr>
            </a:lvl3pPr>
            <a:lvl4pPr>
              <a:defRPr sz="1800">
                <a:solidFill>
                  <a:srgbClr val="00458A"/>
                </a:solidFill>
              </a:defRPr>
            </a:lvl4pPr>
            <a:lvl5pPr>
              <a:defRPr sz="1600">
                <a:solidFill>
                  <a:srgbClr val="00458A"/>
                </a:solidFill>
              </a:defRPr>
            </a:lvl5pPr>
          </a:lstStyle>
          <a:p>
            <a:pPr lvl="0"/>
            <a:r>
              <a:rPr lang="sv-SE" dirty="0"/>
              <a:t>Skriv din text här…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0194668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312807" y="1736728"/>
            <a:ext cx="4259194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5699194" y="1738314"/>
            <a:ext cx="3132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B6397E3-2F6A-46E7-B952-9659618249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52000" y="6453188"/>
            <a:ext cx="482438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176765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572000" y="1736728"/>
            <a:ext cx="4266010" cy="4194629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05991" y="1738314"/>
            <a:ext cx="3132000" cy="4175125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EAD5FAA-1657-4061-B125-FAABE5DDE2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52000" y="6453188"/>
            <a:ext cx="482438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8507962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05991" y="1738313"/>
            <a:ext cx="27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5991" y="5528974"/>
            <a:ext cx="27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50"/>
            </a:lvl1pPr>
            <a:lvl2pPr marL="342875" indent="0">
              <a:buNone/>
              <a:defRPr sz="1050"/>
            </a:lvl2pPr>
            <a:lvl3pPr marL="685749" indent="0">
              <a:buNone/>
              <a:defRPr sz="900"/>
            </a:lvl3pPr>
            <a:lvl4pPr marL="1028624" indent="0">
              <a:buNone/>
              <a:defRPr sz="750"/>
            </a:lvl4pPr>
            <a:lvl5pPr marL="1371498" indent="0">
              <a:buNone/>
              <a:defRPr sz="750"/>
            </a:lvl5pPr>
            <a:lvl6pPr marL="1714373" indent="0">
              <a:buNone/>
              <a:defRPr sz="750"/>
            </a:lvl6pPr>
            <a:lvl7pPr marL="2057246" indent="0">
              <a:buNone/>
              <a:defRPr sz="750"/>
            </a:lvl7pPr>
            <a:lvl8pPr marL="2400120" indent="0">
              <a:buNone/>
              <a:defRPr sz="750"/>
            </a:lvl8pPr>
            <a:lvl9pPr marL="2742995" indent="0">
              <a:buNone/>
              <a:defRPr sz="75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3222000" y="1738313"/>
            <a:ext cx="27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3222000" y="5528974"/>
            <a:ext cx="27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50"/>
            </a:lvl1pPr>
            <a:lvl2pPr marL="342875" indent="0">
              <a:buNone/>
              <a:defRPr sz="1050"/>
            </a:lvl2pPr>
            <a:lvl3pPr marL="685749" indent="0">
              <a:buNone/>
              <a:defRPr sz="900"/>
            </a:lvl3pPr>
            <a:lvl4pPr marL="1028624" indent="0">
              <a:buNone/>
              <a:defRPr sz="750"/>
            </a:lvl4pPr>
            <a:lvl5pPr marL="1371498" indent="0">
              <a:buNone/>
              <a:defRPr sz="750"/>
            </a:lvl5pPr>
            <a:lvl6pPr marL="1714373" indent="0">
              <a:buNone/>
              <a:defRPr sz="750"/>
            </a:lvl6pPr>
            <a:lvl7pPr marL="2057246" indent="0">
              <a:buNone/>
              <a:defRPr sz="750"/>
            </a:lvl7pPr>
            <a:lvl8pPr marL="2400120" indent="0">
              <a:buNone/>
              <a:defRPr sz="750"/>
            </a:lvl8pPr>
            <a:lvl9pPr marL="2742995" indent="0">
              <a:buNone/>
              <a:defRPr sz="75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138010" y="1738313"/>
            <a:ext cx="27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138010" y="5528974"/>
            <a:ext cx="27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050"/>
            </a:lvl1pPr>
            <a:lvl2pPr marL="342875" indent="0">
              <a:buNone/>
              <a:defRPr sz="1050"/>
            </a:lvl2pPr>
            <a:lvl3pPr marL="685749" indent="0">
              <a:buNone/>
              <a:defRPr sz="900"/>
            </a:lvl3pPr>
            <a:lvl4pPr marL="1028624" indent="0">
              <a:buNone/>
              <a:defRPr sz="750"/>
            </a:lvl4pPr>
            <a:lvl5pPr marL="1371498" indent="0">
              <a:buNone/>
              <a:defRPr sz="750"/>
            </a:lvl5pPr>
            <a:lvl6pPr marL="1714373" indent="0">
              <a:buNone/>
              <a:defRPr sz="750"/>
            </a:lvl6pPr>
            <a:lvl7pPr marL="2057246" indent="0">
              <a:buNone/>
              <a:defRPr sz="750"/>
            </a:lvl7pPr>
            <a:lvl8pPr marL="2400120" indent="0">
              <a:buNone/>
              <a:defRPr sz="750"/>
            </a:lvl8pPr>
            <a:lvl9pPr marL="2742995" indent="0">
              <a:buNone/>
              <a:defRPr sz="750"/>
            </a:lvl9pPr>
          </a:lstStyle>
          <a:p>
            <a:pPr lvl="0"/>
            <a:r>
              <a:rPr lang="sv-SE" dirty="0"/>
              <a:t>Redigera format för bakgrundstext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3227AAC-52A1-439E-A66E-B8A4CE23E2A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352000" y="6453188"/>
            <a:ext cx="482438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3983462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25757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9999" y="6376989"/>
            <a:ext cx="4212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6631" y="2404809"/>
            <a:ext cx="6850742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3375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89776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4BC2FFEF-6434-4E63-AD0D-37B93846A0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52000" y="6453188"/>
            <a:ext cx="482438" cy="144463"/>
          </a:xfrm>
          <a:prstGeom prst="rect">
            <a:avLst/>
          </a:prstGeom>
        </p:spPr>
        <p:txBody>
          <a:bodyPr/>
          <a:lstStyle/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52922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875650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5992" y="404813"/>
            <a:ext cx="8532018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100000"/>
              </a:lnSpc>
              <a:spcBef>
                <a:spcPts val="138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973603"/>
            <a:ext cx="636273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305991" y="6453188"/>
            <a:ext cx="648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788" dirty="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A42DC399-9929-4DB1-86A7-EDD1619A0A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73981" y="6168925"/>
            <a:ext cx="960203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69321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966CA57-627C-4882-9601-245D15D92392}"/>
              </a:ext>
            </a:extLst>
          </p:cNvPr>
          <p:cNvSpPr/>
          <p:nvPr userDrawn="1"/>
        </p:nvSpPr>
        <p:spPr>
          <a:xfrm>
            <a:off x="305991" y="404813"/>
            <a:ext cx="8532019" cy="550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6631" y="2404810"/>
            <a:ext cx="6850742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3375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 dirty="0"/>
          </a:p>
        </p:txBody>
      </p:sp>
      <p:pic>
        <p:nvPicPr>
          <p:cNvPr id="6" name="Bildobjekt 5" descr="Logo" title="Logo">
            <a:extLst>
              <a:ext uri="{FF2B5EF4-FFF2-40B4-BE49-F238E27FC236}">
                <a16:creationId xmlns:a16="http://schemas.microsoft.com/office/drawing/2014/main" id="{1BFA490F-F636-4FBD-9551-5FE7BB924C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73981" y="6168925"/>
            <a:ext cx="960203" cy="426757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388E3460-7228-4DB3-A6B8-F304B211BC3F}"/>
              </a:ext>
            </a:extLst>
          </p:cNvPr>
          <p:cNvSpPr txBox="1"/>
          <p:nvPr userDrawn="1"/>
        </p:nvSpPr>
        <p:spPr>
          <a:xfrm>
            <a:off x="305991" y="6453188"/>
            <a:ext cx="648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788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43670697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9901358-FAEB-466E-A059-DFCAF845E54F}"/>
              </a:ext>
            </a:extLst>
          </p:cNvPr>
          <p:cNvSpPr/>
          <p:nvPr userDrawn="1"/>
        </p:nvSpPr>
        <p:spPr>
          <a:xfrm>
            <a:off x="305991" y="1144857"/>
            <a:ext cx="8531107" cy="530795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065488" y="2405064"/>
            <a:ext cx="2269503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 sz="1275" dirty="0"/>
              <a:t>Kontakt</a:t>
            </a:r>
          </a:p>
        </p:txBody>
      </p:sp>
      <p:pic>
        <p:nvPicPr>
          <p:cNvPr id="13" name="Bildobjekt 12" descr="Logo" title="Logo">
            <a:extLst>
              <a:ext uri="{FF2B5EF4-FFF2-40B4-BE49-F238E27FC236}">
                <a16:creationId xmlns:a16="http://schemas.microsoft.com/office/drawing/2014/main" id="{8FA31A6C-4824-4084-8D71-178D8B56BB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23346" y="401984"/>
            <a:ext cx="1111092" cy="499915"/>
          </a:xfrm>
          <a:prstGeom prst="rect">
            <a:avLst/>
          </a:prstGeom>
        </p:spPr>
      </p:pic>
      <p:sp>
        <p:nvSpPr>
          <p:cNvPr id="15" name="Platshållare för text 4">
            <a:extLst>
              <a:ext uri="{FF2B5EF4-FFF2-40B4-BE49-F238E27FC236}">
                <a16:creationId xmlns:a16="http://schemas.microsoft.com/office/drawing/2014/main" id="{483A67E9-807F-424F-890D-A3A5CA39AF0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5487" y="2830624"/>
            <a:ext cx="4611659" cy="2971086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200" b="1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sv-SE" dirty="0"/>
              <a:t>Avdelning</a:t>
            </a:r>
            <a:br>
              <a:rPr lang="sv-SE" dirty="0"/>
            </a:br>
            <a:r>
              <a:rPr lang="sv-SE" dirty="0"/>
              <a:t>Område, Göteborgs Stad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/>
              <a:t>namn@namn.se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6553C1A9-DB36-4729-A526-0352AB7C6E25}"/>
              </a:ext>
            </a:extLst>
          </p:cNvPr>
          <p:cNvSpPr txBox="1"/>
          <p:nvPr userDrawn="1"/>
        </p:nvSpPr>
        <p:spPr>
          <a:xfrm>
            <a:off x="305990" y="580165"/>
            <a:ext cx="648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825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Hållbar stad – öppen för världen</a:t>
            </a:r>
          </a:p>
        </p:txBody>
      </p:sp>
    </p:spTree>
    <p:extLst>
      <p:ext uri="{BB962C8B-B14F-4D97-AF65-F5344CB8AC3E}">
        <p14:creationId xmlns:p14="http://schemas.microsoft.com/office/powerpoint/2010/main" val="1183445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22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23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5" Type="http://schemas.openxmlformats.org/officeDocument/2006/relationships/image" Target="../media/image50.png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ags" Target="../tags/tag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2.xml"/><Relationship Id="rId16" Type="http://schemas.openxmlformats.org/officeDocument/2006/relationships/theme" Target="../theme/theme2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6.xml"/><Relationship Id="rId28" Type="http://schemas.openxmlformats.org/officeDocument/2006/relationships/image" Target="../media/image16.jpeg"/><Relationship Id="rId10" Type="http://schemas.openxmlformats.org/officeDocument/2006/relationships/slideLayout" Target="../slideLayouts/slideLayout3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ags" Target="../tags/tag5.xml"/><Relationship Id="rId27" Type="http://schemas.openxmlformats.org/officeDocument/2006/relationships/image" Target="../media/image15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tags" Target="../tags/tag43.xml"/><Relationship Id="rId26" Type="http://schemas.openxmlformats.org/officeDocument/2006/relationships/oleObject" Target="../embeddings/oleObject9.bin"/><Relationship Id="rId3" Type="http://schemas.openxmlformats.org/officeDocument/2006/relationships/slideLayout" Target="../slideLayouts/slideLayout38.xml"/><Relationship Id="rId21" Type="http://schemas.openxmlformats.org/officeDocument/2006/relationships/tags" Target="../tags/tag4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vmlDrawing" Target="../drawings/vmlDrawing9.vml"/><Relationship Id="rId25" Type="http://schemas.openxmlformats.org/officeDocument/2006/relationships/tags" Target="../tags/tag50.xml"/><Relationship Id="rId2" Type="http://schemas.openxmlformats.org/officeDocument/2006/relationships/slideLayout" Target="../slideLayouts/slideLayout37.xml"/><Relationship Id="rId16" Type="http://schemas.openxmlformats.org/officeDocument/2006/relationships/theme" Target="../theme/theme3.xml"/><Relationship Id="rId20" Type="http://schemas.openxmlformats.org/officeDocument/2006/relationships/tags" Target="../tags/tag45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4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tags" Target="../tags/tag48.xml"/><Relationship Id="rId28" Type="http://schemas.openxmlformats.org/officeDocument/2006/relationships/image" Target="../media/image16.jpeg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4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ags" Target="../tags/tag47.xml"/><Relationship Id="rId27" Type="http://schemas.openxmlformats.org/officeDocument/2006/relationships/image" Target="../media/image15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26.jpe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2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Relationship Id="rId9" Type="http://schemas.openxmlformats.org/officeDocument/2006/relationships/image" Target="../media/image30.w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4.xml"/><Relationship Id="rId9" Type="http://schemas.openxmlformats.org/officeDocument/2006/relationships/image" Target="../media/image30.w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image" Target="../media/image39.wmf"/><Relationship Id="rId2" Type="http://schemas.openxmlformats.org/officeDocument/2006/relationships/slideLayout" Target="../slideLayouts/slideLayout109.xml"/><Relationship Id="rId16" Type="http://schemas.openxmlformats.org/officeDocument/2006/relationships/image" Target="../media/image38.wmf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0000" y="274638"/>
            <a:ext cx="8424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0000" y="1600200"/>
            <a:ext cx="8424000" cy="4525963"/>
          </a:xfrm>
          <a:prstGeom prst="rect">
            <a:avLst/>
          </a:prstGeom>
        </p:spPr>
        <p:txBody>
          <a:bodyPr vert="horz" lIns="91440" tIns="0" rIns="9144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textruta 6"/>
          <p:cNvSpPr txBox="1"/>
          <p:nvPr/>
        </p:nvSpPr>
        <p:spPr>
          <a:xfrm>
            <a:off x="6551133" y="6301102"/>
            <a:ext cx="2232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1000" kern="1200" dirty="0"/>
              <a:t>Vi sätter Göteborg i rörelse</a:t>
            </a:r>
          </a:p>
        </p:txBody>
      </p:sp>
      <p:pic>
        <p:nvPicPr>
          <p:cNvPr id="8" name="Bildobjekt 7" descr="GS_logo_col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6138672"/>
            <a:ext cx="1331976" cy="359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57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18" r:id="rId2"/>
    <p:sldLayoutId id="2147483819" r:id="rId3"/>
    <p:sldLayoutId id="2147483821" r:id="rId4"/>
    <p:sldLayoutId id="2147483805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17" r:id="rId13"/>
    <p:sldLayoutId id="2147483830" r:id="rId14"/>
    <p:sldLayoutId id="2147483815" r:id="rId15"/>
    <p:sldLayoutId id="2147483829" r:id="rId16"/>
    <p:sldLayoutId id="2147483835" r:id="rId17"/>
    <p:sldLayoutId id="2147483836" r:id="rId18"/>
    <p:sldLayoutId id="2147483837" r:id="rId19"/>
    <p:sldLayoutId id="2147483838" r:id="rId20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rgbClr val="00458A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rgbClr val="00458A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00458A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rgbClr val="00458A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458A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458A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4788" y="1600201"/>
            <a:ext cx="848201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4788" y="625488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537D1D7B-70B5-9D4F-A9E5-525C1090DAAC}" type="datetime4">
              <a:rPr lang="en-US" smtClean="0"/>
              <a:t>November 24, 2021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0" y="6437446"/>
            <a:ext cx="3841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CCCCCC"/>
                </a:solidFill>
                <a:latin typeface="Arial"/>
                <a:cs typeface="Arial"/>
              </a:defRPr>
            </a:lvl1pPr>
          </a:lstStyle>
          <a:p>
            <a:fld id="{7FE0505B-37A8-D24C-BEF3-C2D216B51C7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468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</p:sldLayoutIdLst>
  <p:hf hdr="0" ftr="0"/>
  <p:txStyles>
    <p:titleStyle>
      <a:lvl1pPr algn="l" defTabSz="457200" rtl="0" eaLnBrk="1" latinLnBrk="0" hangingPunct="1">
        <a:spcBef>
          <a:spcPct val="0"/>
        </a:spcBef>
        <a:buNone/>
        <a:defRPr sz="1800" b="1" kern="1200" baseline="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000" b="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498" y="2679452"/>
            <a:ext cx="8229600" cy="710853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29706" y="6426427"/>
            <a:ext cx="66301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fld id="{37B593F9-7B30-274B-BFFF-492683631E49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420101"/>
            <a:ext cx="9144000" cy="0"/>
          </a:xfrm>
          <a:prstGeom prst="line">
            <a:avLst/>
          </a:prstGeom>
          <a:ln w="12700" cmpd="sng">
            <a:solidFill>
              <a:srgbClr val="CCCCC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Placeholder 11"/>
          <p:cNvSpPr>
            <a:spLocks noGrp="1"/>
          </p:cNvSpPr>
          <p:nvPr>
            <p:ph type="title"/>
          </p:nvPr>
        </p:nvSpPr>
        <p:spPr>
          <a:xfrm>
            <a:off x="204788" y="1076495"/>
            <a:ext cx="8229600" cy="114300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1"/>
          <p:cNvSpPr txBox="1">
            <a:spLocks/>
          </p:cNvSpPr>
          <p:nvPr userDrawn="1"/>
        </p:nvSpPr>
        <p:spPr>
          <a:xfrm>
            <a:off x="-56474" y="6515316"/>
            <a:ext cx="1050635" cy="2136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7C878E"/>
                </a:solidFill>
                <a:latin typeface="Helvetica Neue"/>
                <a:cs typeface="Helvetica Neue"/>
              </a:rPr>
              <a:t>Powered by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026" y="6455579"/>
            <a:ext cx="1213734" cy="394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995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7" r:id="rId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600" b="1" kern="1200">
          <a:solidFill>
            <a:schemeClr val="bg1">
              <a:lumMod val="50000"/>
            </a:schemeClr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5136" y="444508"/>
            <a:ext cx="8229600" cy="5216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136" y="982199"/>
            <a:ext cx="5332506" cy="3321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67077" y="6420102"/>
            <a:ext cx="62603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fld id="{A88B48FB-E956-2048-9E74-C69E7CAA26C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420101"/>
            <a:ext cx="9144000" cy="0"/>
          </a:xfrm>
          <a:prstGeom prst="line">
            <a:avLst/>
          </a:prstGeom>
          <a:ln w="12700" cmpd="sng">
            <a:solidFill>
              <a:srgbClr val="CCCCC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204788" y="972237"/>
            <a:ext cx="8780462" cy="0"/>
          </a:xfrm>
          <a:prstGeom prst="line">
            <a:avLst/>
          </a:prstGeom>
          <a:ln w="6350" cmpd="sng">
            <a:solidFill>
              <a:srgbClr val="CCCCC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ubtitle 1"/>
          <p:cNvSpPr txBox="1">
            <a:spLocks/>
          </p:cNvSpPr>
          <p:nvPr userDrawn="1"/>
        </p:nvSpPr>
        <p:spPr>
          <a:xfrm>
            <a:off x="-56474" y="6507727"/>
            <a:ext cx="1050635" cy="2136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7C878E"/>
                </a:solidFill>
                <a:latin typeface="Helvetica Neue"/>
                <a:cs typeface="Helvetica Neue"/>
              </a:rPr>
              <a:t>Powered by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026" y="6447989"/>
            <a:ext cx="1213734" cy="394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899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9" r:id="rId1"/>
    <p:sldLayoutId id="2147484390" r:id="rId2"/>
    <p:sldLayoutId id="2147484391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1">
            <a:extLst>
              <a:ext uri="{FF2B5EF4-FFF2-40B4-BE49-F238E27FC236}">
                <a16:creationId xmlns:a16="http://schemas.microsoft.com/office/drawing/2014/main" id="{65DE0674-52BC-4D91-9DFF-3CDEEBB0D9C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v-SE"/>
              <a:t>Click to edit Master title style</a:t>
            </a:r>
          </a:p>
        </p:txBody>
      </p:sp>
      <p:sp>
        <p:nvSpPr>
          <p:cNvPr id="8195" name="Text Placeholder 2">
            <a:extLst>
              <a:ext uri="{FF2B5EF4-FFF2-40B4-BE49-F238E27FC236}">
                <a16:creationId xmlns:a16="http://schemas.microsoft.com/office/drawing/2014/main" id="{17B3A27E-C1D7-46BB-858F-D4562075724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v-SE"/>
              <a:t>Edit Master text styles</a:t>
            </a:r>
          </a:p>
          <a:p>
            <a:pPr lvl="1"/>
            <a:r>
              <a:rPr lang="en-US" altLang="sv-SE"/>
              <a:t>Second level</a:t>
            </a:r>
          </a:p>
          <a:p>
            <a:pPr lvl="2"/>
            <a:r>
              <a:rPr lang="en-US" altLang="sv-SE"/>
              <a:t>Third level</a:t>
            </a:r>
          </a:p>
          <a:p>
            <a:pPr lvl="3"/>
            <a:r>
              <a:rPr lang="en-US" altLang="sv-SE"/>
              <a:t>Fourth level</a:t>
            </a:r>
          </a:p>
          <a:p>
            <a:pPr lvl="4"/>
            <a:r>
              <a:rPr lang="en-US" altLang="sv-SE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9E4256-0E75-4C60-9FEB-A9BD022DB4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51C4EDD-DEE7-4009-9B27-3B0815D9B9D7}" type="datetimeFigureOut">
              <a:rPr lang="en-US"/>
              <a:pPr>
                <a:defRPr/>
              </a:pPr>
              <a:t>11/2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DB762F-5726-4817-9CCF-AEEFA69E6A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45770D-9A41-43C3-9965-62EED35A6F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BF1139E-0BC3-45D2-BDC8-CC66533BFA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560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5" r:id="rId1"/>
    <p:sldLayoutId id="2147484496" r:id="rId2"/>
    <p:sldLayoutId id="2147484497" r:id="rId3"/>
    <p:sldLayoutId id="2147484498" r:id="rId4"/>
    <p:sldLayoutId id="2147484499" r:id="rId5"/>
    <p:sldLayoutId id="2147484500" r:id="rId6"/>
    <p:sldLayoutId id="2147484501" r:id="rId7"/>
    <p:sldLayoutId id="2147484502" r:id="rId8"/>
    <p:sldLayoutId id="2147484503" r:id="rId9"/>
    <p:sldLayoutId id="2147484504" r:id="rId10"/>
    <p:sldLayoutId id="2147484505" r:id="rId11"/>
  </p:sldLayoutIdLst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ED9C8-F09A-4D9E-BEC0-4725162E21FF}" type="datetimeFigureOut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558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0" r:id="rId1"/>
    <p:sldLayoutId id="2147484551" r:id="rId2"/>
    <p:sldLayoutId id="2147484552" r:id="rId3"/>
    <p:sldLayoutId id="2147484553" r:id="rId4"/>
    <p:sldLayoutId id="2147484554" r:id="rId5"/>
    <p:sldLayoutId id="2147484555" r:id="rId6"/>
    <p:sldLayoutId id="2147484556" r:id="rId7"/>
    <p:sldLayoutId id="2147484557" r:id="rId8"/>
    <p:sldLayoutId id="2147484558" r:id="rId9"/>
    <p:sldLayoutId id="2147484559" r:id="rId10"/>
    <p:sldLayoutId id="2147484560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350729" y="188640"/>
            <a:ext cx="8397735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350729" y="1196752"/>
            <a:ext cx="8397735" cy="4752528"/>
          </a:xfrm>
          <a:prstGeom prst="rect">
            <a:avLst/>
          </a:prstGeom>
        </p:spPr>
        <p:txBody>
          <a:bodyPr vert="horz" lIns="0" tIns="45720" rIns="72000" bIns="45720" rtlCol="0">
            <a:normAutofit/>
          </a:bodyPr>
          <a:lstStyle/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 err="1"/>
              <a:t>sghdgsjd</a:t>
            </a:r>
            <a:endParaRPr lang="en-CA" dirty="0"/>
          </a:p>
          <a:p>
            <a:pPr lvl="0"/>
            <a:endParaRPr lang="en-CA" dirty="0"/>
          </a:p>
          <a:p>
            <a:pPr lvl="0"/>
            <a:endParaRPr lang="en-CA" dirty="0"/>
          </a:p>
          <a:p>
            <a:pPr lvl="3"/>
            <a:endParaRPr lang="en-CA" dirty="0"/>
          </a:p>
        </p:txBody>
      </p:sp>
      <p:pic>
        <p:nvPicPr>
          <p:cNvPr id="4" name="Image 3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55"/>
          <a:stretch>
            <a:fillRect/>
          </a:stretch>
        </p:blipFill>
        <p:spPr>
          <a:xfrm>
            <a:off x="6804248" y="6087353"/>
            <a:ext cx="2339752" cy="752400"/>
          </a:xfrm>
          <a:prstGeom prst="rect">
            <a:avLst/>
          </a:prstGeom>
        </p:spPr>
      </p:pic>
      <p:sp>
        <p:nvSpPr>
          <p:cNvPr id="9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16200000">
            <a:off x="7702189" y="3318829"/>
            <a:ext cx="2566408" cy="2462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defTabSz="1300163" eaLnBrk="0" hangingPunct="0">
              <a:defRPr/>
            </a:pPr>
            <a:r>
              <a:rPr lang="en-CA" sz="800" dirty="0">
                <a:solidFill>
                  <a:srgbClr val="A69F88"/>
                </a:solidFill>
              </a:rPr>
              <a:t>PRIVATE AND CONFIDENTIAL</a:t>
            </a:r>
          </a:p>
          <a:p>
            <a:pPr defTabSz="1300163" eaLnBrk="0" hangingPunct="0">
              <a:defRPr/>
            </a:pPr>
            <a:r>
              <a:rPr lang="en-CA" sz="800" dirty="0">
                <a:solidFill>
                  <a:srgbClr val="A69F88"/>
                </a:solidFill>
              </a:rPr>
              <a:t>© Bombardier Inc. or its subsidiaries. All rights reserved.</a:t>
            </a: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  <p:custDataLst>
              <p:tags r:id="rId23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90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fld id="{89A93721-A7E3-4E3B-BEAA-F100E0D8E961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24"/>
            </p:custDataLst>
          </p:nvPr>
        </p:nvSpPr>
        <p:spPr bwMode="auto">
          <a:xfrm flipV="1">
            <a:off x="358775" y="6096000"/>
            <a:ext cx="8402638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rgbClr val="7A9A01"/>
              </a:buClr>
              <a:buFont typeface="Wingdings" pitchFamily="2" charset="2"/>
              <a:buNone/>
              <a:defRPr/>
            </a:pPr>
            <a:endParaRPr lang="en-CA">
              <a:solidFill>
                <a:prstClr val="black"/>
              </a:solidFill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358775" y="917575"/>
            <a:ext cx="8402638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rgbClr val="7A9A01"/>
              </a:buClr>
              <a:buFont typeface="Wingdings" pitchFamily="2" charset="2"/>
              <a:buNone/>
              <a:defRPr/>
            </a:pPr>
            <a:endParaRPr lang="en-CA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40399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350729" y="188640"/>
            <a:ext cx="8397735" cy="717944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CA" noProof="0" dirty="0"/>
              <a:t>Click to edit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350729" y="1196752"/>
            <a:ext cx="8397735" cy="4752528"/>
          </a:xfrm>
          <a:prstGeom prst="rect">
            <a:avLst/>
          </a:prstGeom>
        </p:spPr>
        <p:txBody>
          <a:bodyPr vert="horz" lIns="0" tIns="45720" rIns="72000" bIns="45720" rtlCol="0">
            <a:normAutofit/>
          </a:bodyPr>
          <a:lstStyle/>
          <a:p>
            <a:pPr lvl="0"/>
            <a:r>
              <a:rPr lang="en-CA" dirty="0"/>
              <a:t>Click to edit text</a:t>
            </a:r>
          </a:p>
          <a:p>
            <a:pPr lvl="1"/>
            <a:r>
              <a:rPr lang="en-CA" dirty="0"/>
              <a:t>Second level</a:t>
            </a:r>
          </a:p>
          <a:p>
            <a:pPr lvl="2"/>
            <a:r>
              <a:rPr lang="en-CA" dirty="0"/>
              <a:t>Third level</a:t>
            </a:r>
          </a:p>
          <a:p>
            <a:pPr lvl="3"/>
            <a:r>
              <a:rPr lang="en-CA" dirty="0"/>
              <a:t>Fourth level</a:t>
            </a:r>
          </a:p>
          <a:p>
            <a:pPr lvl="4"/>
            <a:r>
              <a:rPr lang="en-CA" dirty="0" err="1"/>
              <a:t>sghdgsjd</a:t>
            </a:r>
            <a:endParaRPr lang="en-CA" dirty="0"/>
          </a:p>
          <a:p>
            <a:pPr lvl="0"/>
            <a:endParaRPr lang="en-CA" dirty="0"/>
          </a:p>
          <a:p>
            <a:pPr lvl="0"/>
            <a:endParaRPr lang="en-CA" dirty="0"/>
          </a:p>
          <a:p>
            <a:pPr lvl="3"/>
            <a:endParaRPr lang="en-CA" dirty="0"/>
          </a:p>
        </p:txBody>
      </p:sp>
      <p:pic>
        <p:nvPicPr>
          <p:cNvPr id="4" name="Image 3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55"/>
          <a:stretch>
            <a:fillRect/>
          </a:stretch>
        </p:blipFill>
        <p:spPr>
          <a:xfrm>
            <a:off x="6804248" y="6087353"/>
            <a:ext cx="2339752" cy="752400"/>
          </a:xfrm>
          <a:prstGeom prst="rect">
            <a:avLst/>
          </a:prstGeom>
        </p:spPr>
      </p:pic>
      <p:sp>
        <p:nvSpPr>
          <p:cNvPr id="9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16200000">
            <a:off x="7702189" y="3318829"/>
            <a:ext cx="2566408" cy="24622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defTabSz="1300163" eaLnBrk="0" hangingPunct="0">
              <a:defRPr/>
            </a:pPr>
            <a:r>
              <a:rPr lang="en-CA" sz="800" dirty="0">
                <a:solidFill>
                  <a:srgbClr val="A69F88"/>
                </a:solidFill>
              </a:rPr>
              <a:t>PRIVATE AND CONFIDENTIAL</a:t>
            </a:r>
          </a:p>
          <a:p>
            <a:pPr defTabSz="1300163" eaLnBrk="0" hangingPunct="0">
              <a:defRPr/>
            </a:pPr>
            <a:r>
              <a:rPr lang="en-CA" sz="800" dirty="0">
                <a:solidFill>
                  <a:srgbClr val="A69F88"/>
                </a:solidFill>
              </a:rPr>
              <a:t>© Bombardier Inc. or its subsidiaries. All rights reserved.</a:t>
            </a:r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4"/>
            <p:custDataLst>
              <p:tags r:id="rId23"/>
            </p:custDataLst>
          </p:nvPr>
        </p:nvSpPr>
        <p:spPr>
          <a:xfrm>
            <a:off x="360040" y="6309320"/>
            <a:ext cx="323528" cy="360000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900">
                <a:solidFill>
                  <a:srgbClr val="8996A0"/>
                </a:solidFill>
                <a:latin typeface="Arial Black" pitchFamily="34" charset="0"/>
              </a:defRPr>
            </a:lvl1pPr>
          </a:lstStyle>
          <a:p>
            <a:fld id="{89A93721-A7E3-4E3B-BEAA-F100E0D8E961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8" name="Line 12"/>
          <p:cNvSpPr>
            <a:spLocks noChangeShapeType="1"/>
          </p:cNvSpPr>
          <p:nvPr>
            <p:custDataLst>
              <p:tags r:id="rId24"/>
            </p:custDataLst>
          </p:nvPr>
        </p:nvSpPr>
        <p:spPr bwMode="auto">
          <a:xfrm flipV="1">
            <a:off x="358775" y="6096000"/>
            <a:ext cx="8402638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rgbClr val="7A9A01"/>
              </a:buClr>
              <a:buFont typeface="Wingdings" pitchFamily="2" charset="2"/>
              <a:buNone/>
              <a:defRPr/>
            </a:pPr>
            <a:endParaRPr lang="en-CA">
              <a:solidFill>
                <a:prstClr val="black"/>
              </a:solidFill>
            </a:endParaRPr>
          </a:p>
        </p:txBody>
      </p:sp>
      <p:sp>
        <p:nvSpPr>
          <p:cNvPr id="10" name="Line 16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358775" y="917575"/>
            <a:ext cx="8402638" cy="0"/>
          </a:xfrm>
          <a:prstGeom prst="line">
            <a:avLst/>
          </a:prstGeom>
          <a:noFill/>
          <a:ln w="12700">
            <a:solidFill>
              <a:srgbClr val="808D97"/>
            </a:solidFill>
            <a:round/>
            <a:headEnd/>
            <a:tailEnd/>
          </a:ln>
          <a:effectLst/>
        </p:spPr>
        <p:txBody>
          <a:bodyPr lIns="91360" tIns="45680" rIns="91360" bIns="45680"/>
          <a:lstStyle/>
          <a:p>
            <a:pPr eaLnBrk="0" hangingPunct="0">
              <a:spcBef>
                <a:spcPct val="50000"/>
              </a:spcBef>
              <a:buClr>
                <a:srgbClr val="7A9A01"/>
              </a:buClr>
              <a:buFont typeface="Wingdings" pitchFamily="2" charset="2"/>
              <a:buNone/>
              <a:defRPr/>
            </a:pPr>
            <a:endParaRPr lang="en-CA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5455F4-455C-404A-9373-48C8CBFA4334}" type="datetimeFigureOut">
              <a:rPr lang="sv-SE" smtClean="0"/>
              <a:pPr/>
              <a:t>2021-11-24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87778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  <p:sldLayoutId id="2147484030" r:id="rId5"/>
    <p:sldLayoutId id="2147484031" r:id="rId6"/>
    <p:sldLayoutId id="2147484032" r:id="rId7"/>
    <p:sldLayoutId id="2147484033" r:id="rId8"/>
    <p:sldLayoutId id="2147484034" r:id="rId9"/>
    <p:sldLayoutId id="2147484035" r:id="rId10"/>
    <p:sldLayoutId id="2147484036" r:id="rId11"/>
    <p:sldLayoutId id="2147484037" r:id="rId12"/>
    <p:sldLayoutId id="2147484038" r:id="rId13"/>
    <p:sldLayoutId id="2147484039" r:id="rId14"/>
    <p:sldLayoutId id="2147484040" r:id="rId1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lang="en-CA" sz="2000" kern="1200" cap="none" baseline="0" noProof="0" dirty="0">
          <a:solidFill>
            <a:srgbClr val="8996A0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144000" algn="l" defTabSz="914400" rtl="0" eaLnBrk="1" latinLnBrk="0" hangingPunct="1">
        <a:lnSpc>
          <a:spcPct val="100000"/>
        </a:lnSpc>
        <a:spcBef>
          <a:spcPts val="600"/>
        </a:spcBef>
        <a:buClr>
          <a:srgbClr val="8996A0"/>
        </a:buClr>
        <a:buSzPct val="80000"/>
        <a:buFont typeface="Arial" pitchFamily="34" charset="0"/>
        <a:buChar char="&gt;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1600"/>
        </a:lnSpc>
        <a:spcBef>
          <a:spcPts val="600"/>
        </a:spcBef>
        <a:buClr>
          <a:srgbClr val="8996A0"/>
        </a:buClr>
        <a:buFont typeface="Arial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Bildobjekt 7" descr="GRAPHIC_small11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17167"/>
            <a:ext cx="9144000" cy="755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271464" y="476251"/>
            <a:ext cx="6738937" cy="6942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sv-SE" dirty="0"/>
              <a:t>Rubrik rubrik rubrik</a:t>
            </a:r>
          </a:p>
        </p:txBody>
      </p:sp>
      <p:sp>
        <p:nvSpPr>
          <p:cNvPr id="1028" name="Platshållare för text 2"/>
          <p:cNvSpPr>
            <a:spLocks noGrp="1"/>
          </p:cNvSpPr>
          <p:nvPr>
            <p:ph type="body" idx="1"/>
          </p:nvPr>
        </p:nvSpPr>
        <p:spPr bwMode="auto">
          <a:xfrm>
            <a:off x="271464" y="1570568"/>
            <a:ext cx="8027987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30" name="Bildobjekt 9" descr="gbg_li_col.pn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 bwMode="auto">
          <a:xfrm>
            <a:off x="7794860" y="575733"/>
            <a:ext cx="999654" cy="442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Rak 11"/>
          <p:cNvCxnSpPr/>
          <p:nvPr/>
        </p:nvCxnSpPr>
        <p:spPr>
          <a:xfrm>
            <a:off x="7564438" y="579967"/>
            <a:ext cx="0" cy="397933"/>
          </a:xfrm>
          <a:prstGeom prst="line">
            <a:avLst/>
          </a:prstGeom>
          <a:ln w="1270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ruta 6"/>
          <p:cNvSpPr txBox="1"/>
          <p:nvPr userDrawn="1"/>
        </p:nvSpPr>
        <p:spPr>
          <a:xfrm>
            <a:off x="5857546" y="6347259"/>
            <a:ext cx="2904565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650" b="1" spc="8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DSREVISIONEN</a:t>
            </a:r>
          </a:p>
        </p:txBody>
      </p:sp>
    </p:spTree>
    <p:extLst>
      <p:ext uri="{BB962C8B-B14F-4D97-AF65-F5344CB8AC3E}">
        <p14:creationId xmlns:p14="http://schemas.microsoft.com/office/powerpoint/2010/main" val="3300958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  <p:sldLayoutId id="2147484089" r:id="rId9"/>
    <p:sldLayoutId id="2147484090" r:id="rId10"/>
    <p:sldLayoutId id="2147484091" r:id="rId11"/>
  </p:sldLayoutIdLst>
  <p:transition spd="med">
    <p:fade/>
  </p:transition>
  <p:hf hdr="0" dt="0"/>
  <p:txStyles>
    <p:titleStyle>
      <a:lvl1pPr algn="l" defTabSz="457200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800" b="1" spc="50">
          <a:solidFill>
            <a:srgbClr val="2C2C2C"/>
          </a:solidFill>
          <a:latin typeface="Arial"/>
          <a:ea typeface="ＭＳ Ｐゴシック" charset="0"/>
          <a:cs typeface="Arial"/>
        </a:defRPr>
      </a:lvl1pPr>
      <a:lvl2pPr algn="l" defTabSz="457200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800" b="1">
          <a:solidFill>
            <a:srgbClr val="2C2C2C"/>
          </a:solidFill>
          <a:latin typeface="Arial" charset="0"/>
          <a:ea typeface="ＭＳ Ｐゴシック" charset="0"/>
        </a:defRPr>
      </a:lvl2pPr>
      <a:lvl3pPr algn="l" defTabSz="457200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800" b="1">
          <a:solidFill>
            <a:srgbClr val="2C2C2C"/>
          </a:solidFill>
          <a:latin typeface="Arial" charset="0"/>
          <a:ea typeface="ＭＳ Ｐゴシック" charset="0"/>
        </a:defRPr>
      </a:lvl3pPr>
      <a:lvl4pPr algn="l" defTabSz="457200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800" b="1">
          <a:solidFill>
            <a:srgbClr val="2C2C2C"/>
          </a:solidFill>
          <a:latin typeface="Arial" charset="0"/>
          <a:ea typeface="ＭＳ Ｐゴシック" charset="0"/>
        </a:defRPr>
      </a:lvl4pPr>
      <a:lvl5pPr algn="l" defTabSz="457200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800" b="1">
          <a:solidFill>
            <a:srgbClr val="2C2C2C"/>
          </a:solidFill>
          <a:latin typeface="Arial" charset="0"/>
          <a:ea typeface="ＭＳ Ｐゴシック" charset="0"/>
        </a:defRPr>
      </a:lvl5pPr>
      <a:lvl6pPr marL="457200" algn="l" defTabSz="457200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800" b="1">
          <a:solidFill>
            <a:srgbClr val="2C2C2C"/>
          </a:solidFill>
          <a:latin typeface="Arial" charset="0"/>
          <a:ea typeface="ＭＳ Ｐゴシック" charset="0"/>
        </a:defRPr>
      </a:lvl6pPr>
      <a:lvl7pPr marL="914400" algn="l" defTabSz="457200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800" b="1">
          <a:solidFill>
            <a:srgbClr val="2C2C2C"/>
          </a:solidFill>
          <a:latin typeface="Arial" charset="0"/>
          <a:ea typeface="ＭＳ Ｐゴシック" charset="0"/>
        </a:defRPr>
      </a:lvl7pPr>
      <a:lvl8pPr marL="1371600" algn="l" defTabSz="457200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800" b="1">
          <a:solidFill>
            <a:srgbClr val="2C2C2C"/>
          </a:solidFill>
          <a:latin typeface="Arial" charset="0"/>
          <a:ea typeface="ＭＳ Ｐゴシック" charset="0"/>
        </a:defRPr>
      </a:lvl8pPr>
      <a:lvl9pPr marL="1828800" algn="l" defTabSz="457200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800" b="1">
          <a:solidFill>
            <a:srgbClr val="2C2C2C"/>
          </a:solidFill>
          <a:latin typeface="Arial" charset="0"/>
          <a:ea typeface="ＭＳ Ｐゴシック" charset="0"/>
        </a:defRPr>
      </a:lvl9pPr>
    </p:titleStyle>
    <p:bodyStyle>
      <a:lvl1pPr marL="179388" indent="-179388" algn="l" defTabSz="457200" rtl="0" eaLnBrk="1" fontAlgn="base" hangingPunct="1">
        <a:spcBef>
          <a:spcPct val="0"/>
        </a:spcBef>
        <a:spcAft>
          <a:spcPts val="1500"/>
        </a:spcAft>
        <a:buFont typeface="Arial" charset="0"/>
        <a:buChar char="•"/>
        <a:defRPr sz="2000" kern="1200">
          <a:solidFill>
            <a:srgbClr val="2C2C2C"/>
          </a:solidFill>
          <a:latin typeface="Arial"/>
          <a:ea typeface="ＭＳ Ｐゴシック" charset="0"/>
          <a:cs typeface="Arial"/>
        </a:defRPr>
      </a:lvl1pPr>
      <a:lvl2pPr marL="444500" indent="-263525" algn="l" defTabSz="457200" rtl="0" eaLnBrk="1" fontAlgn="base" hangingPunct="1">
        <a:spcBef>
          <a:spcPct val="0"/>
        </a:spcBef>
        <a:spcAft>
          <a:spcPts val="1500"/>
        </a:spcAft>
        <a:buFont typeface="Arial" charset="0"/>
        <a:buChar char="–"/>
        <a:defRPr sz="2000" kern="1200">
          <a:solidFill>
            <a:srgbClr val="2C2C2C"/>
          </a:solidFill>
          <a:latin typeface="Arial"/>
          <a:ea typeface="ＭＳ Ｐゴシック" charset="0"/>
          <a:cs typeface="Arial"/>
        </a:defRPr>
      </a:lvl2pPr>
      <a:lvl3pPr marL="444500" indent="-263525" algn="l" defTabSz="457200" rtl="0" eaLnBrk="1" fontAlgn="base" hangingPunct="1">
        <a:spcBef>
          <a:spcPct val="0"/>
        </a:spcBef>
        <a:spcAft>
          <a:spcPts val="1500"/>
        </a:spcAft>
        <a:buFont typeface="Arial" charset="0"/>
        <a:buChar char="•"/>
        <a:defRPr sz="1600" kern="1200">
          <a:solidFill>
            <a:srgbClr val="2C2C2C"/>
          </a:solidFill>
          <a:latin typeface="Arial"/>
          <a:ea typeface="ＭＳ Ｐゴシック" charset="0"/>
          <a:cs typeface="Arial"/>
        </a:defRPr>
      </a:lvl3pPr>
      <a:lvl4pPr marL="444500" indent="-263525" algn="l" defTabSz="457200" rtl="0" eaLnBrk="1" fontAlgn="base" hangingPunct="1">
        <a:spcBef>
          <a:spcPct val="0"/>
        </a:spcBef>
        <a:spcAft>
          <a:spcPts val="1500"/>
        </a:spcAft>
        <a:buFont typeface="Arial" charset="0"/>
        <a:buChar char="–"/>
        <a:defRPr sz="1600" kern="1200">
          <a:solidFill>
            <a:srgbClr val="2C2C2C"/>
          </a:solidFill>
          <a:latin typeface="Arial"/>
          <a:ea typeface="ＭＳ Ｐゴシック" charset="0"/>
          <a:cs typeface="Arial"/>
        </a:defRPr>
      </a:lvl4pPr>
      <a:lvl5pPr marL="444500" indent="-263525" algn="l" defTabSz="457200" rtl="0" eaLnBrk="1" fontAlgn="base" hangingPunct="1">
        <a:spcBef>
          <a:spcPct val="0"/>
        </a:spcBef>
        <a:spcAft>
          <a:spcPts val="1500"/>
        </a:spcAft>
        <a:buFont typeface="Arial" charset="0"/>
        <a:buChar char="»"/>
        <a:defRPr sz="1600" kern="1200">
          <a:solidFill>
            <a:srgbClr val="2C2C2C"/>
          </a:solidFill>
          <a:latin typeface="Arial"/>
          <a:ea typeface="ＭＳ Ｐゴシック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50">
                <a:solidFill>
                  <a:schemeClr val="bg1"/>
                </a:solidFill>
                <a:latin typeface="EYInterstate Light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457200" y="6415200"/>
            <a:ext cx="72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50" dirty="0">
                <a:solidFill>
                  <a:schemeClr val="tx1"/>
                </a:solidFill>
                <a:latin typeface="EYInterstate Light" pitchFamily="2" charset="0"/>
              </a:rPr>
              <a:t>Page </a:t>
            </a:r>
            <a:fld id="{9AE4D82F-B047-469B-AC52-A46321747EAF}" type="slidenum">
              <a:rPr lang="en-GB" sz="1050" smtClean="0">
                <a:solidFill>
                  <a:schemeClr val="tx1"/>
                </a:solidFill>
                <a:latin typeface="EYInterstate Light" pitchFamily="2" charset="0"/>
              </a:rPr>
              <a:pPr/>
              <a:t>‹#›</a:t>
            </a:fld>
            <a:endParaRPr lang="en-GB" sz="1050" dirty="0">
              <a:solidFill>
                <a:schemeClr val="tx1"/>
              </a:solidFill>
              <a:latin typeface="EYInterstate Light" pitchFamily="2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216000" cy="1044000"/>
          </a:xfrm>
          <a:prstGeom prst="rect">
            <a:avLst/>
          </a:prstGeom>
          <a:solidFill>
            <a:srgbClr val="FFD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60363" marR="0" lvl="0" indent="-360363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None/>
              <a:tabLst/>
              <a:defRPr/>
            </a:pPr>
            <a:endParaRPr kumimoji="0" lang="fr-FR" sz="2400" b="1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itchFamily="2" charset="0"/>
            </a:endParaRP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107504" y="198000"/>
            <a:ext cx="216000" cy="846000"/>
          </a:xfrm>
          <a:prstGeom prst="rect">
            <a:avLst/>
          </a:prstGeom>
          <a:solidFill>
            <a:srgbClr val="FFFFFF">
              <a:lumMod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60363" marR="0" lvl="0" indent="-360363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None/>
              <a:tabLst/>
              <a:defRPr/>
            </a:pPr>
            <a:endParaRPr kumimoji="0" lang="fr-FR" sz="2400" b="1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itchFamily="2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399919" cy="40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39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EYInterstate" pitchFamily="2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EYInterstate Light" pitchFamily="2" charset="0"/>
          <a:ea typeface="+mn-ea"/>
          <a:cs typeface="+mn-cs"/>
        </a:defRPr>
      </a:lvl1pPr>
      <a:lvl2pPr marL="7096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itchFamily="2" charset="0"/>
          <a:ea typeface="+mn-ea"/>
          <a:cs typeface="+mn-cs"/>
        </a:defRPr>
      </a:lvl2pPr>
      <a:lvl3pPr marL="10779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itchFamily="2" charset="0"/>
          <a:ea typeface="+mn-ea"/>
          <a:cs typeface="+mn-cs"/>
        </a:defRPr>
      </a:lvl3pPr>
      <a:lvl4pPr marL="1433513" indent="-3556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itchFamily="2" charset="0"/>
          <a:ea typeface="+mn-ea"/>
          <a:cs typeface="+mn-cs"/>
        </a:defRPr>
      </a:lvl4pPr>
      <a:lvl5pPr marL="1787525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2" y="404814"/>
            <a:ext cx="687770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CAEB2E3D-92F2-44E1-BB5F-C8FAE387A996}"/>
              </a:ext>
            </a:extLst>
          </p:cNvPr>
          <p:cNvSpPr txBox="1"/>
          <p:nvPr userDrawn="1"/>
        </p:nvSpPr>
        <p:spPr>
          <a:xfrm>
            <a:off x="305991" y="6454562"/>
            <a:ext cx="648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825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2000" y="1744652"/>
            <a:ext cx="756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E827BE2D-9929-4BFA-9192-B82AEC78891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7723346" y="401984"/>
            <a:ext cx="1111092" cy="499915"/>
          </a:xfrm>
          <a:prstGeom prst="rect">
            <a:avLst/>
          </a:prstGeom>
        </p:spPr>
      </p:pic>
      <p:sp>
        <p:nvSpPr>
          <p:cNvPr id="2" name="Platshållare för bildnummer 1">
            <a:extLst>
              <a:ext uri="{FF2B5EF4-FFF2-40B4-BE49-F238E27FC236}">
                <a16:creationId xmlns:a16="http://schemas.microsoft.com/office/drawing/2014/main" id="{048D0267-35CA-45BC-A225-E420D66A85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52000" y="6453188"/>
            <a:ext cx="482438" cy="144463"/>
          </a:xfrm>
          <a:prstGeom prst="rect">
            <a:avLst/>
          </a:prstGeom>
        </p:spPr>
        <p:txBody>
          <a:bodyPr vert="horz" lIns="0" tIns="180000" rIns="0" bIns="0" rtlCol="0" anchor="b" anchorCtr="0"/>
          <a:lstStyle>
            <a:lvl1pPr algn="r">
              <a:defRPr sz="750" b="1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94152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6" r:id="rId1"/>
    <p:sldLayoutId id="2147484167" r:id="rId2"/>
    <p:sldLayoutId id="2147484168" r:id="rId3"/>
    <p:sldLayoutId id="2147484169" r:id="rId4"/>
    <p:sldLayoutId id="2147484170" r:id="rId5"/>
    <p:sldLayoutId id="2147484171" r:id="rId6"/>
    <p:sldLayoutId id="2147484172" r:id="rId7"/>
    <p:sldLayoutId id="2147484173" r:id="rId8"/>
    <p:sldLayoutId id="2147484174" r:id="rId9"/>
    <p:sldLayoutId id="2147484175" r:id="rId10"/>
    <p:sldLayoutId id="2147484176" r:id="rId11"/>
    <p:sldLayoutId id="2147484177" r:id="rId12"/>
    <p:sldLayoutId id="2147484178" r:id="rId13"/>
    <p:sldLayoutId id="2147484179" r:id="rId14"/>
    <p:sldLayoutId id="2147484180" r:id="rId15"/>
    <p:sldLayoutId id="2147484181" r:id="rId16"/>
  </p:sldLayoutIdLst>
  <p:hf sldNum="0" hdr="0" ft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2250" b="1" kern="0" spc="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172788" indent="-172788" algn="l" defTabSz="685749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•"/>
        <a:defRPr sz="15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342875" indent="-172788" algn="l" defTabSz="685749" rtl="0" eaLnBrk="1" latinLnBrk="0" hangingPunct="1">
        <a:lnSpc>
          <a:spcPct val="11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–"/>
        <a:defRPr sz="1275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2pPr>
      <a:lvl3pPr marL="515661" indent="-172788" algn="l" defTabSz="685749" rtl="0" eaLnBrk="1" latinLnBrk="0" hangingPunct="1">
        <a:lnSpc>
          <a:spcPct val="110000"/>
        </a:lnSpc>
        <a:spcBef>
          <a:spcPts val="0"/>
        </a:spcBef>
        <a:spcAft>
          <a:spcPts val="225"/>
        </a:spcAft>
        <a:buFont typeface="Wingdings" panose="05000000000000000000" pitchFamily="2" charset="2"/>
        <a:buChar char="§"/>
        <a:defRPr sz="1275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3pPr>
      <a:lvl4pPr marL="685749" indent="-171438" algn="l" defTabSz="685749" rtl="0" eaLnBrk="1" latinLnBrk="0" hangingPunct="1">
        <a:lnSpc>
          <a:spcPct val="11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•"/>
        <a:defRPr sz="1275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4pPr>
      <a:lvl5pPr marL="858536" indent="-171438" algn="l" defTabSz="685749" rtl="0" eaLnBrk="1" latinLnBrk="0" hangingPunct="1">
        <a:lnSpc>
          <a:spcPct val="11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•"/>
        <a:defRPr sz="1275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pos="257">
          <p15:clr>
            <a:srgbClr val="F26B43"/>
          </p15:clr>
        </p15:guide>
        <p15:guide id="11" pos="7423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4" orient="horz" pos="1095">
          <p15:clr>
            <a:srgbClr val="F26B43"/>
          </p15:clr>
        </p15:guide>
        <p15:guide id="15" orient="horz" pos="550">
          <p15:clr>
            <a:srgbClr val="F26B43"/>
          </p15:clr>
        </p15:guide>
        <p15:guide id="16" orient="horz" pos="3725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2" y="404814"/>
            <a:ext cx="687770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2000" y="1744652"/>
            <a:ext cx="756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E827BE2D-9929-4BFA-9192-B82AEC78891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7723346" y="401984"/>
            <a:ext cx="1111092" cy="499915"/>
          </a:xfrm>
          <a:prstGeom prst="rect">
            <a:avLst/>
          </a:prstGeom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C30862AA-79CD-47D7-A508-195920CF797F}"/>
              </a:ext>
            </a:extLst>
          </p:cNvPr>
          <p:cNvSpPr txBox="1"/>
          <p:nvPr userDrawn="1"/>
        </p:nvSpPr>
        <p:spPr>
          <a:xfrm>
            <a:off x="305991" y="6454562"/>
            <a:ext cx="648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825" dirty="0">
                <a:solidFill>
                  <a:schemeClr val="tx1">
                    <a:lumMod val="95000"/>
                    <a:lumOff val="5000"/>
                  </a:schemeClr>
                </a:solidFill>
              </a:rPr>
              <a:t>Hållbar stad – öppen för världen</a:t>
            </a:r>
          </a:p>
        </p:txBody>
      </p:sp>
      <p:sp>
        <p:nvSpPr>
          <p:cNvPr id="10" name="Platshållare för bildnummer 1">
            <a:extLst>
              <a:ext uri="{FF2B5EF4-FFF2-40B4-BE49-F238E27FC236}">
                <a16:creationId xmlns:a16="http://schemas.microsoft.com/office/drawing/2014/main" id="{0B5FE696-6F97-4D3C-86EA-DA1B9AC17F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52000" y="6453188"/>
            <a:ext cx="482438" cy="144463"/>
          </a:xfrm>
          <a:prstGeom prst="rect">
            <a:avLst/>
          </a:prstGeom>
        </p:spPr>
        <p:txBody>
          <a:bodyPr vert="horz" lIns="0" tIns="180000" rIns="0" bIns="0" rtlCol="0" anchor="b" anchorCtr="0"/>
          <a:lstStyle>
            <a:lvl1pPr algn="r">
              <a:defRPr sz="750" b="1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59C8BBA8-F427-4879-AAC6-186856FF899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31541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  <p:sldLayoutId id="2147484193" r:id="rId11"/>
    <p:sldLayoutId id="2147484194" r:id="rId12"/>
    <p:sldLayoutId id="2147484195" r:id="rId13"/>
    <p:sldLayoutId id="2147484196" r:id="rId14"/>
    <p:sldLayoutId id="2147484197" r:id="rId15"/>
    <p:sldLayoutId id="2147484198" r:id="rId16"/>
  </p:sldLayoutIdLst>
  <p:hf sldNum="0" hdr="0" ft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2250" b="1" kern="0" spc="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172788" indent="-172788" algn="l" defTabSz="685749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•"/>
        <a:defRPr sz="1500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1pPr>
      <a:lvl2pPr marL="342875" indent="-172788" algn="l" defTabSz="685749" rtl="0" eaLnBrk="1" latinLnBrk="0" hangingPunct="1">
        <a:lnSpc>
          <a:spcPct val="11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–"/>
        <a:defRPr sz="1275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2pPr>
      <a:lvl3pPr marL="515661" indent="-172788" algn="l" defTabSz="685749" rtl="0" eaLnBrk="1" latinLnBrk="0" hangingPunct="1">
        <a:lnSpc>
          <a:spcPct val="110000"/>
        </a:lnSpc>
        <a:spcBef>
          <a:spcPts val="0"/>
        </a:spcBef>
        <a:spcAft>
          <a:spcPts val="225"/>
        </a:spcAft>
        <a:buFont typeface="Wingdings" panose="05000000000000000000" pitchFamily="2" charset="2"/>
        <a:buChar char="§"/>
        <a:defRPr sz="1275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3pPr>
      <a:lvl4pPr marL="685749" indent="-171438" algn="l" defTabSz="685749" rtl="0" eaLnBrk="1" latinLnBrk="0" hangingPunct="1">
        <a:lnSpc>
          <a:spcPct val="11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•"/>
        <a:defRPr sz="1275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4pPr>
      <a:lvl5pPr marL="858536" indent="-171438" algn="l" defTabSz="685749" rtl="0" eaLnBrk="1" latinLnBrk="0" hangingPunct="1">
        <a:lnSpc>
          <a:spcPct val="110000"/>
        </a:lnSpc>
        <a:spcBef>
          <a:spcPts val="0"/>
        </a:spcBef>
        <a:spcAft>
          <a:spcPts val="225"/>
        </a:spcAft>
        <a:buFont typeface="Arial" panose="020B0604020202020204" pitchFamily="34" charset="0"/>
        <a:buChar char="•"/>
        <a:defRPr sz="1275" kern="1200">
          <a:solidFill>
            <a:schemeClr val="tx1">
              <a:lumMod val="95000"/>
              <a:lumOff val="5000"/>
            </a:schemeClr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pos="257">
          <p15:clr>
            <a:srgbClr val="F26B43"/>
          </p15:clr>
        </p15:guide>
        <p15:guide id="11" pos="7423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4" orient="horz" pos="1095">
          <p15:clr>
            <a:srgbClr val="F26B43"/>
          </p15:clr>
        </p15:guide>
        <p15:guide id="15" orient="horz" pos="550">
          <p15:clr>
            <a:srgbClr val="F26B43"/>
          </p15:clr>
        </p15:guide>
        <p15:guide id="16" orient="horz" pos="3725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50">
                <a:solidFill>
                  <a:schemeClr val="bg1"/>
                </a:solidFill>
                <a:latin typeface="EYInterstate Light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457200" y="6415200"/>
            <a:ext cx="72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50" dirty="0">
                <a:solidFill>
                  <a:schemeClr val="tx1"/>
                </a:solidFill>
                <a:latin typeface="EYInterstate Light" pitchFamily="2" charset="0"/>
              </a:rPr>
              <a:t>Page </a:t>
            </a:r>
            <a:fld id="{9AE4D82F-B047-469B-AC52-A46321747EAF}" type="slidenum">
              <a:rPr lang="en-GB" sz="1050" smtClean="0">
                <a:solidFill>
                  <a:schemeClr val="tx1"/>
                </a:solidFill>
                <a:latin typeface="EYInterstate Light" pitchFamily="2" charset="0"/>
              </a:rPr>
              <a:pPr/>
              <a:t>‹#›</a:t>
            </a:fld>
            <a:endParaRPr lang="en-GB" sz="1050" dirty="0">
              <a:solidFill>
                <a:schemeClr val="tx1"/>
              </a:solidFill>
              <a:latin typeface="EYInterstate Light" pitchFamily="2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216000" cy="1044000"/>
          </a:xfrm>
          <a:prstGeom prst="rect">
            <a:avLst/>
          </a:prstGeom>
          <a:solidFill>
            <a:srgbClr val="FFD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60363" marR="0" lvl="0" indent="-360363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None/>
              <a:tabLst/>
              <a:defRPr/>
            </a:pPr>
            <a:endParaRPr kumimoji="0" lang="fr-FR" sz="2400" b="1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itchFamily="2" charset="0"/>
            </a:endParaRP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107504" y="198000"/>
            <a:ext cx="216000" cy="846000"/>
          </a:xfrm>
          <a:prstGeom prst="rect">
            <a:avLst/>
          </a:prstGeom>
          <a:solidFill>
            <a:srgbClr val="FFFFFF">
              <a:lumMod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360363" marR="0" lvl="0" indent="-360363" algn="ctr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None/>
              <a:tabLst/>
              <a:defRPr/>
            </a:pPr>
            <a:endParaRPr kumimoji="0" lang="fr-FR" sz="2400" b="1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EYInterstate" pitchFamily="2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399919" cy="408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303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0" r:id="rId1"/>
    <p:sldLayoutId id="2147484201" r:id="rId2"/>
    <p:sldLayoutId id="2147484202" r:id="rId3"/>
    <p:sldLayoutId id="2147484203" r:id="rId4"/>
    <p:sldLayoutId id="2147484204" r:id="rId5"/>
    <p:sldLayoutId id="2147484205" r:id="rId6"/>
    <p:sldLayoutId id="2147484206" r:id="rId7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EYInterstate" pitchFamily="2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EYInterstate Light" pitchFamily="2" charset="0"/>
          <a:ea typeface="+mn-ea"/>
          <a:cs typeface="+mn-cs"/>
        </a:defRPr>
      </a:lvl1pPr>
      <a:lvl2pPr marL="7096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EYInterstate Light" pitchFamily="2" charset="0"/>
          <a:ea typeface="+mn-ea"/>
          <a:cs typeface="+mn-cs"/>
        </a:defRPr>
      </a:lvl2pPr>
      <a:lvl3pPr marL="10779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EYInterstate Light" pitchFamily="2" charset="0"/>
          <a:ea typeface="+mn-ea"/>
          <a:cs typeface="+mn-cs"/>
        </a:defRPr>
      </a:lvl3pPr>
      <a:lvl4pPr marL="1433513" indent="-3556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itchFamily="2" charset="0"/>
          <a:ea typeface="+mn-ea"/>
          <a:cs typeface="+mn-cs"/>
        </a:defRPr>
      </a:lvl4pPr>
      <a:lvl5pPr marL="1787525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EYInterstate Light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6A2E091C-AD8C-B74A-BF27-87CC8B39484D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0" y="6320155"/>
            <a:ext cx="9144000" cy="533400"/>
          </a:xfrm>
          <a:prstGeom prst="rect">
            <a:avLst/>
          </a:prstGeom>
        </p:spPr>
      </p:pic>
      <p:sp>
        <p:nvSpPr>
          <p:cNvPr id="7" name="Fußzeilenplatzhalter 10">
            <a:extLst>
              <a:ext uri="{FF2B5EF4-FFF2-40B4-BE49-F238E27FC236}">
                <a16:creationId xmlns:a16="http://schemas.microsoft.com/office/drawing/2014/main" id="{02C3DF98-089C-4786-9AF0-0EE0225C7B56}"/>
              </a:ext>
            </a:extLst>
          </p:cNvPr>
          <p:cNvSpPr txBox="1">
            <a:spLocks/>
          </p:cNvSpPr>
          <p:nvPr userDrawn="1"/>
        </p:nvSpPr>
        <p:spPr>
          <a:xfrm>
            <a:off x="623700" y="6591600"/>
            <a:ext cx="3086100" cy="10350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CA"/>
            </a:defPPr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noProof="0" dirty="0"/>
              <a:t>© Bombardier Inc. or its subsidiaries. All rights reserved.</a:t>
            </a:r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251100" y="152636"/>
            <a:ext cx="8640000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Green headline here ratiur sus abor ren facerum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F595CFE-3A40-41FB-A2DD-599FFAB749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1100" y="1051200"/>
            <a:ext cx="8640000" cy="49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first level (Arial 18pt)</a:t>
            </a:r>
          </a:p>
          <a:p>
            <a:pPr lvl="1"/>
            <a:r>
              <a:rPr lang="en-US" noProof="0"/>
              <a:t>Second level (Arial 16pt)</a:t>
            </a:r>
          </a:p>
          <a:p>
            <a:pPr lvl="2"/>
            <a:r>
              <a:rPr lang="en-US" noProof="0"/>
              <a:t>Third level (Arial 14pt)</a:t>
            </a:r>
          </a:p>
          <a:p>
            <a:pPr lvl="3"/>
            <a:r>
              <a:rPr lang="en-US" noProof="0"/>
              <a:t>Fourth level (Arial 14pt)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1E86B50C-AB53-4072-9D16-55E942770D14}"/>
              </a:ext>
            </a:extLst>
          </p:cNvPr>
          <p:cNvSpPr txBox="1">
            <a:spLocks/>
          </p:cNvSpPr>
          <p:nvPr userDrawn="1"/>
        </p:nvSpPr>
        <p:spPr>
          <a:xfrm>
            <a:off x="20382" y="6499225"/>
            <a:ext cx="286930" cy="319236"/>
          </a:xfrm>
          <a:prstGeom prst="rect">
            <a:avLst/>
          </a:prstGeom>
        </p:spPr>
        <p:txBody>
          <a:bodyPr wrap="none"/>
          <a:lstStyle>
            <a:defPPr>
              <a:defRPr lang="en-CA"/>
            </a:defPPr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8768"/>
              </a:buClr>
              <a:buSzPct val="120000"/>
              <a:buFont typeface="Wingdings" charset="2"/>
              <a:buNone/>
              <a:tabLst/>
              <a:defRPr sz="1000" b="0" kern="120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rgbClr val="008768"/>
              </a:buClr>
              <a:buSzPct val="120000"/>
              <a:buFont typeface="Wingdings" charset="2"/>
              <a:buChar char="§"/>
              <a:tabLst/>
              <a:defRPr sz="1600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360000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8768"/>
              </a:buClr>
              <a:buSzTx/>
              <a:buFont typeface="Symbol" charset="2"/>
              <a:buChar char="-"/>
              <a:tabLst/>
              <a:defRPr sz="1400" b="0" i="0" u="none" kern="120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540000" marR="0" indent="-1800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rgbClr val="008768"/>
              </a:buClr>
              <a:buSzPts val="900"/>
              <a:buFont typeface="Wingdings" charset="0"/>
              <a:buChar char="o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20000">
              <a:defRPr sz="1400">
                <a:latin typeface="+mn-lt"/>
              </a:defRPr>
            </a:lvl5pPr>
            <a:lvl6pPr marL="2520000">
              <a:defRPr sz="1400">
                <a:latin typeface="+mn-lt"/>
              </a:defRPr>
            </a:lvl6pPr>
            <a:lvl7pPr marL="2520000">
              <a:defRPr sz="1400">
                <a:latin typeface="+mn-lt"/>
              </a:defRPr>
            </a:lvl7pPr>
            <a:lvl8pPr marL="2520000">
              <a:defRPr sz="1400">
                <a:latin typeface="+mn-lt"/>
              </a:defRPr>
            </a:lvl8pPr>
            <a:lvl9pPr marL="2520000">
              <a:defRPr sz="1400">
                <a:latin typeface="+mn-lt"/>
              </a:defRPr>
            </a:lvl9pPr>
          </a:lstStyle>
          <a:p>
            <a:fld id="{95609786-AB51-F440-9B97-1AA49FB65259}" type="slidenum">
              <a:rPr lang="en-US" sz="750" b="1" noProof="0" smtClean="0"/>
              <a:pPr/>
              <a:t>‹#›</a:t>
            </a:fld>
            <a:endParaRPr lang="en-US" sz="750" b="1" noProof="0" dirty="0"/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1AB6364D-CC83-4B65-96F7-10BE664ADE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3700" y="6462001"/>
            <a:ext cx="6107485" cy="1308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CA" sz="600" smtClean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/>
              <a:t>Author | Organizational abbreviation | Date (Month DD, YYYY) | Rev. x.x | Confidentiality level</a:t>
            </a:r>
            <a:endParaRPr lang="en-US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F63B536C-4579-ED4E-BB6A-BF3F2D27B4EE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7937309" y="6499226"/>
            <a:ext cx="954400" cy="168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291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0" r:id="rId1"/>
    <p:sldLayoutId id="2147484371" r:id="rId2"/>
    <p:sldLayoutId id="2147484372" r:id="rId3"/>
    <p:sldLayoutId id="2147484373" r:id="rId4"/>
    <p:sldLayoutId id="2147484374" r:id="rId5"/>
    <p:sldLayoutId id="2147484375" r:id="rId6"/>
    <p:sldLayoutId id="2147484376" r:id="rId7"/>
    <p:sldLayoutId id="2147484377" r:id="rId8"/>
    <p:sldLayoutId id="2147484378" r:id="rId9"/>
    <p:sldLayoutId id="2147484379" r:id="rId10"/>
    <p:sldLayoutId id="2147484380" r:id="rId11"/>
    <p:sldLayoutId id="2147484381" r:id="rId12"/>
    <p:sldLayoutId id="2147484382" r:id="rId13"/>
    <p:sldLayoutId id="2147484383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 baseline="0">
          <a:solidFill>
            <a:srgbClr val="008768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85800" rtl="0" eaLnBrk="1" fontAlgn="base" latinLnBrk="0" hangingPunct="1">
        <a:lnSpc>
          <a:spcPct val="100000"/>
        </a:lnSpc>
        <a:spcBef>
          <a:spcPts val="0"/>
        </a:spcBef>
        <a:spcAft>
          <a:spcPct val="0"/>
        </a:spcAft>
        <a:buClr>
          <a:srgbClr val="008768"/>
        </a:buClr>
        <a:buSzPct val="120000"/>
        <a:buFont typeface="Wingdings" charset="2"/>
        <a:buNone/>
        <a:tabLst/>
        <a:defRPr sz="1350" b="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35000" marR="0" indent="-135000" algn="l" defTabSz="685800" rtl="0" eaLnBrk="1" fontAlgn="base" latinLnBrk="0" hangingPunct="1">
        <a:lnSpc>
          <a:spcPct val="100000"/>
        </a:lnSpc>
        <a:spcBef>
          <a:spcPts val="750"/>
        </a:spcBef>
        <a:spcAft>
          <a:spcPct val="0"/>
        </a:spcAft>
        <a:buClr>
          <a:srgbClr val="008768"/>
        </a:buClr>
        <a:buSzPct val="120000"/>
        <a:buFont typeface="Wingdings" charset="2"/>
        <a:buChar char="§"/>
        <a:tabLst/>
        <a:defRPr sz="12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270000" marR="0" indent="-135000" algn="l" defTabSz="685800" rtl="0" eaLnBrk="1" fontAlgn="base" latinLnBrk="0" hangingPunct="1">
        <a:lnSpc>
          <a:spcPct val="100000"/>
        </a:lnSpc>
        <a:spcBef>
          <a:spcPts val="225"/>
        </a:spcBef>
        <a:spcAft>
          <a:spcPct val="0"/>
        </a:spcAft>
        <a:buClr>
          <a:srgbClr val="008768"/>
        </a:buClr>
        <a:buSzTx/>
        <a:buFont typeface="Symbol" charset="2"/>
        <a:buChar char="-"/>
        <a:tabLst/>
        <a:defRPr sz="1050" b="0" i="0" u="none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405000" marR="0" indent="-135000" algn="l" defTabSz="685800" rtl="0" eaLnBrk="1" fontAlgn="base" latinLnBrk="0" hangingPunct="1">
        <a:lnSpc>
          <a:spcPct val="100000"/>
        </a:lnSpc>
        <a:spcBef>
          <a:spcPts val="225"/>
        </a:spcBef>
        <a:spcAft>
          <a:spcPct val="0"/>
        </a:spcAft>
        <a:buClr>
          <a:srgbClr val="008768"/>
        </a:buClr>
        <a:buSzPts val="900"/>
        <a:buFont typeface="Wingdings" charset="0"/>
        <a:buChar char="o"/>
        <a:tabLst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890000" eaLnBrk="1" hangingPunct="1">
        <a:defRPr sz="1050">
          <a:latin typeface="+mn-lt"/>
        </a:defRPr>
      </a:lvl5pPr>
      <a:lvl6pPr marL="1890000" eaLnBrk="1" hangingPunct="1">
        <a:defRPr sz="1050">
          <a:latin typeface="+mn-lt"/>
        </a:defRPr>
      </a:lvl6pPr>
      <a:lvl7pPr marL="1890000" eaLnBrk="1" hangingPunct="1">
        <a:defRPr sz="1050">
          <a:latin typeface="+mn-lt"/>
        </a:defRPr>
      </a:lvl7pPr>
      <a:lvl8pPr marL="1890000" eaLnBrk="1" hangingPunct="1">
        <a:defRPr sz="1050">
          <a:latin typeface="+mn-lt"/>
        </a:defRPr>
      </a:lvl8pPr>
      <a:lvl9pPr marL="1890000" eaLnBrk="1" hangingPunct="1">
        <a:defRPr sz="1050">
          <a:latin typeface="+mn-lt"/>
        </a:defRPr>
      </a:lvl9pPr>
    </p:bodyStyle>
    <p:otherStyle>
      <a:defPPr>
        <a:defRPr lang="en-CA"/>
      </a:defPPr>
      <a:lvl1pPr marL="0" marR="0" indent="0" algn="l" defTabSz="685800" rtl="0" eaLnBrk="1" fontAlgn="base" latinLnBrk="0" hangingPunct="1">
        <a:lnSpc>
          <a:spcPct val="100000"/>
        </a:lnSpc>
        <a:spcBef>
          <a:spcPts val="0"/>
        </a:spcBef>
        <a:spcAft>
          <a:spcPct val="0"/>
        </a:spcAft>
        <a:buClr>
          <a:srgbClr val="008768"/>
        </a:buClr>
        <a:buSzPct val="120000"/>
        <a:buFont typeface="Wingdings" charset="2"/>
        <a:buNone/>
        <a:tabLst/>
        <a:defRPr sz="1050" b="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135000" marR="0" indent="-135000" algn="l" defTabSz="685800" rtl="0" eaLnBrk="1" fontAlgn="base" latinLnBrk="0" hangingPunct="1">
        <a:lnSpc>
          <a:spcPct val="100000"/>
        </a:lnSpc>
        <a:spcBef>
          <a:spcPts val="750"/>
        </a:spcBef>
        <a:spcAft>
          <a:spcPct val="0"/>
        </a:spcAft>
        <a:buClr>
          <a:srgbClr val="008768"/>
        </a:buClr>
        <a:buSzPct val="120000"/>
        <a:buFont typeface="Wingdings" charset="2"/>
        <a:buChar char="§"/>
        <a:tabLst/>
        <a:defRPr sz="105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270000" marR="0" indent="-135000" algn="l" defTabSz="685800" rtl="0" eaLnBrk="1" fontAlgn="base" latinLnBrk="0" hangingPunct="1">
        <a:lnSpc>
          <a:spcPct val="100000"/>
        </a:lnSpc>
        <a:spcBef>
          <a:spcPts val="225"/>
        </a:spcBef>
        <a:spcAft>
          <a:spcPct val="0"/>
        </a:spcAft>
        <a:buClr>
          <a:srgbClr val="008768"/>
        </a:buClr>
        <a:buSzTx/>
        <a:buFont typeface="Symbol" charset="2"/>
        <a:buChar char="-"/>
        <a:tabLst/>
        <a:defRPr sz="1050" b="0" i="0" u="none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405000" marR="0" indent="-135000" algn="l" defTabSz="685800" rtl="0" eaLnBrk="1" fontAlgn="base" latinLnBrk="0" hangingPunct="1">
        <a:lnSpc>
          <a:spcPct val="100000"/>
        </a:lnSpc>
        <a:spcBef>
          <a:spcPts val="225"/>
        </a:spcBef>
        <a:spcAft>
          <a:spcPct val="0"/>
        </a:spcAft>
        <a:buClr>
          <a:srgbClr val="008768"/>
        </a:buClr>
        <a:buSzPts val="900"/>
        <a:buFont typeface="Wingdings" charset="0"/>
        <a:buChar char="o"/>
        <a:tabLst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890000" eaLnBrk="1" hangingPunct="1">
        <a:defRPr sz="1050">
          <a:latin typeface="+mn-lt"/>
        </a:defRPr>
      </a:lvl5pPr>
      <a:lvl6pPr marL="1890000" eaLnBrk="1" hangingPunct="1">
        <a:defRPr sz="1050">
          <a:latin typeface="+mn-lt"/>
        </a:defRPr>
      </a:lvl6pPr>
      <a:lvl7pPr marL="1890000" eaLnBrk="1" hangingPunct="1">
        <a:defRPr sz="1050">
          <a:latin typeface="+mn-lt"/>
        </a:defRPr>
      </a:lvl7pPr>
      <a:lvl8pPr marL="1890000" eaLnBrk="1" hangingPunct="1">
        <a:defRPr sz="1050">
          <a:latin typeface="+mn-lt"/>
        </a:defRPr>
      </a:lvl8pPr>
      <a:lvl9pPr marL="1890000" eaLnBrk="1" hangingPunct="1">
        <a:defRPr sz="1050">
          <a:latin typeface="+mn-lt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119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orient="horz" pos="3793">
          <p15:clr>
            <a:srgbClr val="F26B43"/>
          </p15:clr>
        </p15:guide>
        <p15:guide id="6" orient="horz" pos="686">
          <p15:clr>
            <a:srgbClr val="F26B43"/>
          </p15:clr>
        </p15:guide>
        <p15:guide id="7" orient="horz" pos="504">
          <p15:clr>
            <a:srgbClr val="F26B43"/>
          </p15:clr>
        </p15:guide>
        <p15:guide id="11" pos="5609">
          <p15:clr>
            <a:srgbClr val="F26B43"/>
          </p15:clr>
        </p15:guide>
        <p15:guide id="12" pos="3749">
          <p15:clr>
            <a:srgbClr val="F26B43"/>
          </p15:clr>
        </p15:guide>
        <p15:guide id="13" pos="2071">
          <p15:clr>
            <a:srgbClr val="F26B43"/>
          </p15:clr>
        </p15:guide>
        <p15:guide id="15" pos="5790">
          <p15:clr>
            <a:srgbClr val="F26B43"/>
          </p15:clr>
        </p15:guide>
        <p15:guide id="16" pos="1890">
          <p15:clr>
            <a:srgbClr val="F26B43"/>
          </p15:clr>
        </p15:guide>
        <p15:guide id="17" pos="39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0632E7F-FE9B-4E7B-8B96-72C28786506C}"/>
              </a:ext>
            </a:extLst>
          </p:cNvPr>
          <p:cNvSpPr/>
          <p:nvPr/>
        </p:nvSpPr>
        <p:spPr>
          <a:xfrm>
            <a:off x="-7938" y="-25400"/>
            <a:ext cx="8005763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400" eaLnBrk="1" fontAlgn="auto" hangingPunct="1">
              <a:defRPr/>
            </a:pPr>
            <a:r>
              <a:rPr lang="sv-SE" sz="2000" kern="0" dirty="0">
                <a:solidFill>
                  <a:srgbClr val="00458A"/>
                </a:solidFill>
                <a:latin typeface="+mj-lt"/>
                <a:ea typeface="+mj-ea"/>
                <a:cs typeface="+mj-cs"/>
              </a:rPr>
              <a:t>Riskanalys GSAB 2021 avseende förmåga att nå uppsatta mål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8D13BFFF-F680-4799-9051-AC23BEDCB9D6}"/>
              </a:ext>
            </a:extLst>
          </p:cNvPr>
          <p:cNvSpPr/>
          <p:nvPr/>
        </p:nvSpPr>
        <p:spPr>
          <a:xfrm>
            <a:off x="-30163" y="379413"/>
            <a:ext cx="9174163" cy="647858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defRPr/>
            </a:pPr>
            <a:endParaRPr lang="sv-SE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5CB92E9-0441-470A-A4D1-70F8180FA9C2}"/>
              </a:ext>
            </a:extLst>
          </p:cNvPr>
          <p:cNvGraphicFramePr>
            <a:graphicFrameLocks noGrp="1"/>
          </p:cNvGraphicFramePr>
          <p:nvPr/>
        </p:nvGraphicFramePr>
        <p:xfrm>
          <a:off x="-7938" y="379413"/>
          <a:ext cx="4056063" cy="6480176"/>
        </p:xfrm>
        <a:graphic>
          <a:graphicData uri="http://schemas.openxmlformats.org/drawingml/2006/table">
            <a:tbl>
              <a:tblPr firstRow="1" bandRow="1"/>
              <a:tblGrid>
                <a:gridCol w="376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79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58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100" noProof="0">
                          <a:latin typeface="Arial" pitchFamily="34" charset="0"/>
                          <a:cs typeface="Arial" pitchFamily="34" charset="0"/>
                        </a:rPr>
                        <a:t>Id</a:t>
                      </a:r>
                    </a:p>
                  </a:txBody>
                  <a:tcPr marL="91426" marR="91426" marT="45714" marB="45714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sv-SE" sz="1100" noProof="0">
                          <a:latin typeface="Arial" pitchFamily="34" charset="0"/>
                          <a:cs typeface="Arial" pitchFamily="34" charset="0"/>
                        </a:rPr>
                        <a:t>Risk händelse</a:t>
                      </a:r>
                    </a:p>
                  </a:txBody>
                  <a:tcPr marL="91426" marR="91426" marT="45714" marB="45714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13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sv-SE" sz="1000" b="0" noProof="0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Otydlig styrning och ledning av GS </a:t>
                      </a:r>
                      <a:r>
                        <a:rPr lang="sv-SE" sz="1000" b="0" noProof="0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önskad leveranskultur</a:t>
                      </a:r>
                    </a:p>
                  </a:txBody>
                  <a:tcPr marL="91426" marR="91426" marT="45714" marB="45714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95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4767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sv-SE" sz="1000" b="0" noProof="0" dirty="0">
                          <a:latin typeface="Arial"/>
                          <a:cs typeface="Arial"/>
                        </a:rPr>
                        <a:t>Otydlig ledning av operativ </a:t>
                      </a:r>
                      <a:r>
                        <a:rPr lang="sv-SE" sz="1000" b="0" noProof="0" dirty="0" err="1">
                          <a:latin typeface="Arial"/>
                          <a:cs typeface="Arial"/>
                        </a:rPr>
                        <a:t>vht</a:t>
                      </a:r>
                      <a:r>
                        <a:rPr lang="sv-SE" sz="1000" b="0" noProof="0" dirty="0">
                          <a:latin typeface="Arial"/>
                          <a:cs typeface="Arial"/>
                        </a:rPr>
                        <a:t> </a:t>
                      </a:r>
                      <a:r>
                        <a:rPr lang="sv-SE" sz="1000" b="0" noProof="0" dirty="0" err="1">
                          <a:latin typeface="Arial"/>
                          <a:cs typeface="Arial"/>
                        </a:rPr>
                        <a:t>ifht</a:t>
                      </a:r>
                      <a:r>
                        <a:rPr lang="sv-SE" sz="1000" b="0" noProof="0" dirty="0">
                          <a:latin typeface="Arial"/>
                          <a:cs typeface="Arial"/>
                        </a:rPr>
                        <a:t> leveranser och säkerhet</a:t>
                      </a:r>
                      <a:endParaRPr lang="sv-SE" sz="1800" dirty="0">
                        <a:latin typeface="Arial"/>
                        <a:cs typeface="Arial"/>
                      </a:endParaRPr>
                    </a:p>
                  </a:txBody>
                  <a:tcPr marL="91426" marR="91426" marT="45714" marB="45714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47678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1402">
                <a:tc>
                  <a:txBody>
                    <a:bodyPr/>
                    <a:lstStyle/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sv-SE" sz="1000" b="0" noProof="0" dirty="0">
                          <a:latin typeface="Arial" pitchFamily="34" charset="0"/>
                          <a:cs typeface="Arial" pitchFamily="34" charset="0"/>
                        </a:rPr>
                        <a:t>Budgetnivå </a:t>
                      </a:r>
                      <a:r>
                        <a:rPr lang="sv-SE" sz="1000" b="0" noProof="0" dirty="0" err="1"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latin typeface="Arial" pitchFamily="34" charset="0"/>
                          <a:cs typeface="Arial" pitchFamily="34" charset="0"/>
                        </a:rPr>
                        <a:t> uppdragsvolym och osäkerhetsfaktorer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8522">
                <a:tc>
                  <a:txBody>
                    <a:bodyPr/>
                    <a:lstStyle/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isskötsamhet gällande oegentligheter, jäv, trakasserier mm 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85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Bristande trafikmiljö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framkomlighet, VTO och kollisioner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13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Bristande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uhnivå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av Infra; bana,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ktl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, signal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trafiksäkerhet</a:t>
                      </a:r>
                    </a:p>
                  </a:txBody>
                  <a:tcPr marL="91426" marR="91426" marT="45714" marB="45714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Bristande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uhnivå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av Fordon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trafiksäkerhet</a:t>
                      </a:r>
                    </a:p>
                  </a:txBody>
                  <a:tcPr marL="91426" marR="91426" marT="45714" marB="45714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85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Fordonsobsolens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M28/29, M32, M31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önskad tillgänglighet</a:t>
                      </a:r>
                    </a:p>
                  </a:txBody>
                  <a:tcPr marL="91426" marR="91426" marT="45714" marB="45714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14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Materialförsörjning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bsolens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och leveransplan M33/M34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722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Förararbetsmiljö, funktion, värme, kyla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trafiksäkerhet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213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sv-SE" sz="1000" b="0" kern="1200" noProof="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ör långsam fordonsleveransplan M33/34 </a:t>
                      </a:r>
                      <a:r>
                        <a:rPr lang="sv-SE" sz="1000" b="0" kern="120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fht</a:t>
                      </a:r>
                      <a:r>
                        <a:rPr lang="sv-SE" sz="1000" b="0" kern="1200" noProof="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M28/29 (2026)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14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2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kern="1200" noProof="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Försening Ringön Etapp II </a:t>
                      </a:r>
                      <a:r>
                        <a:rPr lang="sv-SE" sz="1000" b="0" kern="120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fht</a:t>
                      </a:r>
                      <a:r>
                        <a:rPr lang="sv-SE" sz="1000" b="0" kern="1200" noProof="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leveransplan M33/M34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148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13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Bristande underhåll och funktion Majorna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tillgänglighet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28522">
                <a:tc>
                  <a:txBody>
                    <a:bodyPr/>
                    <a:lstStyle/>
                    <a:p>
                      <a:pPr algn="ctr"/>
                      <a:r>
                        <a:rPr lang="sv-SE" sz="1000" b="0" noProof="0" dirty="0"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Bristande IT-systemstöd </a:t>
                      </a:r>
                      <a:r>
                        <a:rPr lang="sv-SE" sz="1000" b="0" noProof="0" dirty="0" err="1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behov av utvecklingstakt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28522">
                <a:tc>
                  <a:txBody>
                    <a:bodyPr/>
                    <a:lstStyle/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15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noProof="0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Utdragen Corona pandemi </a:t>
                      </a:r>
                      <a:r>
                        <a:rPr lang="sv-SE" sz="1000" b="0" noProof="0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behov av utvecklingstakt 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55300">
                <a:tc>
                  <a:txBody>
                    <a:bodyPr/>
                    <a:lstStyle/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noProof="0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Samhällsekonomipåverkan på VT </a:t>
                      </a:r>
                      <a:r>
                        <a:rPr lang="sv-SE" sz="1000" b="0" noProof="0" dirty="0" err="1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ifht</a:t>
                      </a:r>
                      <a:r>
                        <a:rPr lang="sv-SE" sz="1000" b="0" noProof="0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trafikbeställning och GS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5300">
                <a:tc>
                  <a:txBody>
                    <a:bodyPr/>
                    <a:lstStyle/>
                    <a:p>
                      <a:pPr algn="ctr"/>
                      <a:r>
                        <a:rPr lang="sv-SE" sz="1000" b="0" noProof="0" dirty="0">
                          <a:latin typeface="Arial" pitchFamily="34" charset="0"/>
                          <a:cs typeface="Arial" pitchFamily="34" charset="0"/>
                        </a:rPr>
                        <a:t>17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0" noProof="0" dirty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Långsam utvecklingstakt gällande ökat resande och intäkter </a:t>
                      </a:r>
                    </a:p>
                  </a:txBody>
                  <a:tcPr marL="91426" marR="91426" marT="45714" marB="4571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pic>
        <p:nvPicPr>
          <p:cNvPr id="26690" name="Picture 1">
            <a:extLst>
              <a:ext uri="{FF2B5EF4-FFF2-40B4-BE49-F238E27FC236}">
                <a16:creationId xmlns:a16="http://schemas.microsoft.com/office/drawing/2014/main" id="{89B435B2-EE59-4FA6-9E7F-C3B1CA481B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775" y="1049338"/>
            <a:ext cx="4803775" cy="3703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Flowchart: Connector 47">
            <a:extLst>
              <a:ext uri="{FF2B5EF4-FFF2-40B4-BE49-F238E27FC236}">
                <a16:creationId xmlns:a16="http://schemas.microsoft.com/office/drawing/2014/main" id="{81B5C3A5-2F29-44C4-B3B7-6A0F389D566E}"/>
              </a:ext>
            </a:extLst>
          </p:cNvPr>
          <p:cNvSpPr/>
          <p:nvPr/>
        </p:nvSpPr>
        <p:spPr>
          <a:xfrm>
            <a:off x="8374063" y="1181100"/>
            <a:ext cx="534987" cy="534988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51" name="Flowchart: Connector 50">
            <a:extLst>
              <a:ext uri="{FF2B5EF4-FFF2-40B4-BE49-F238E27FC236}">
                <a16:creationId xmlns:a16="http://schemas.microsoft.com/office/drawing/2014/main" id="{603CBE60-38E5-4780-96EE-2D2F2D773AC9}"/>
              </a:ext>
            </a:extLst>
          </p:cNvPr>
          <p:cNvSpPr/>
          <p:nvPr/>
        </p:nvSpPr>
        <p:spPr>
          <a:xfrm>
            <a:off x="8405813" y="2671763"/>
            <a:ext cx="534987" cy="534987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5" name="Flowchart: Connector 54">
            <a:extLst>
              <a:ext uri="{FF2B5EF4-FFF2-40B4-BE49-F238E27FC236}">
                <a16:creationId xmlns:a16="http://schemas.microsoft.com/office/drawing/2014/main" id="{9EC4ACDF-2C28-44B8-A5D6-E52B36725148}"/>
              </a:ext>
            </a:extLst>
          </p:cNvPr>
          <p:cNvSpPr/>
          <p:nvPr/>
        </p:nvSpPr>
        <p:spPr>
          <a:xfrm>
            <a:off x="7997825" y="2689225"/>
            <a:ext cx="534988" cy="534988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56" name="Flowchart: Connector 55">
            <a:extLst>
              <a:ext uri="{FF2B5EF4-FFF2-40B4-BE49-F238E27FC236}">
                <a16:creationId xmlns:a16="http://schemas.microsoft.com/office/drawing/2014/main" id="{76092C21-5D35-4EB0-B00A-34668C8252D6}"/>
              </a:ext>
            </a:extLst>
          </p:cNvPr>
          <p:cNvSpPr/>
          <p:nvPr/>
        </p:nvSpPr>
        <p:spPr>
          <a:xfrm>
            <a:off x="8401050" y="3825875"/>
            <a:ext cx="534988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7" name="Flowchart: Connector 56">
            <a:extLst>
              <a:ext uri="{FF2B5EF4-FFF2-40B4-BE49-F238E27FC236}">
                <a16:creationId xmlns:a16="http://schemas.microsoft.com/office/drawing/2014/main" id="{37D8DE5F-09B9-4431-882B-CF861E0A61F9}"/>
              </a:ext>
            </a:extLst>
          </p:cNvPr>
          <p:cNvSpPr/>
          <p:nvPr/>
        </p:nvSpPr>
        <p:spPr>
          <a:xfrm>
            <a:off x="6453188" y="1982788"/>
            <a:ext cx="534987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58" name="Flowchart: Connector 57">
            <a:extLst>
              <a:ext uri="{FF2B5EF4-FFF2-40B4-BE49-F238E27FC236}">
                <a16:creationId xmlns:a16="http://schemas.microsoft.com/office/drawing/2014/main" id="{47424984-06D2-45F4-A3CF-0F72DA04FF89}"/>
              </a:ext>
            </a:extLst>
          </p:cNvPr>
          <p:cNvSpPr/>
          <p:nvPr/>
        </p:nvSpPr>
        <p:spPr>
          <a:xfrm>
            <a:off x="7399338" y="2689225"/>
            <a:ext cx="534987" cy="534988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60" name="Flowchart: Connector 59">
            <a:extLst>
              <a:ext uri="{FF2B5EF4-FFF2-40B4-BE49-F238E27FC236}">
                <a16:creationId xmlns:a16="http://schemas.microsoft.com/office/drawing/2014/main" id="{CFC9DF66-E0F8-41F5-BA1E-7DE8248C4A7D}"/>
              </a:ext>
            </a:extLst>
          </p:cNvPr>
          <p:cNvSpPr/>
          <p:nvPr/>
        </p:nvSpPr>
        <p:spPr>
          <a:xfrm>
            <a:off x="8405813" y="3255963"/>
            <a:ext cx="534987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 dirty="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23" name="Flowchart: Connector 56">
            <a:extLst>
              <a:ext uri="{FF2B5EF4-FFF2-40B4-BE49-F238E27FC236}">
                <a16:creationId xmlns:a16="http://schemas.microsoft.com/office/drawing/2014/main" id="{F1163BA6-629F-414E-B336-D9F0D7AEB462}"/>
              </a:ext>
            </a:extLst>
          </p:cNvPr>
          <p:cNvSpPr/>
          <p:nvPr/>
        </p:nvSpPr>
        <p:spPr>
          <a:xfrm>
            <a:off x="5395913" y="1741488"/>
            <a:ext cx="534987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2" name="Flowchart: Connector 3">
            <a:extLst>
              <a:ext uri="{FF2B5EF4-FFF2-40B4-BE49-F238E27FC236}">
                <a16:creationId xmlns:a16="http://schemas.microsoft.com/office/drawing/2014/main" id="{8CCE777F-980A-4CA3-B6BE-0E689648F4D4}"/>
              </a:ext>
            </a:extLst>
          </p:cNvPr>
          <p:cNvSpPr/>
          <p:nvPr/>
        </p:nvSpPr>
        <p:spPr>
          <a:xfrm>
            <a:off x="6440488" y="2519363"/>
            <a:ext cx="534987" cy="508000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24" name="Flowchart: Connector 48">
            <a:extLst>
              <a:ext uri="{FF2B5EF4-FFF2-40B4-BE49-F238E27FC236}">
                <a16:creationId xmlns:a16="http://schemas.microsoft.com/office/drawing/2014/main" id="{281E963E-E4B6-4543-94A2-EA83F191C280}"/>
              </a:ext>
            </a:extLst>
          </p:cNvPr>
          <p:cNvSpPr/>
          <p:nvPr/>
        </p:nvSpPr>
        <p:spPr>
          <a:xfrm>
            <a:off x="7915275" y="1201738"/>
            <a:ext cx="533400" cy="534987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25" name="Flowchart: Connector 49">
            <a:extLst>
              <a:ext uri="{FF2B5EF4-FFF2-40B4-BE49-F238E27FC236}">
                <a16:creationId xmlns:a16="http://schemas.microsoft.com/office/drawing/2014/main" id="{A3BBC14C-2FFB-4B58-B7D2-7CF1C736BABB}"/>
              </a:ext>
            </a:extLst>
          </p:cNvPr>
          <p:cNvSpPr/>
          <p:nvPr/>
        </p:nvSpPr>
        <p:spPr>
          <a:xfrm>
            <a:off x="7310438" y="1617663"/>
            <a:ext cx="534987" cy="534987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6" name="Flowchart: Connector 51">
            <a:extLst>
              <a:ext uri="{FF2B5EF4-FFF2-40B4-BE49-F238E27FC236}">
                <a16:creationId xmlns:a16="http://schemas.microsoft.com/office/drawing/2014/main" id="{089FFFA5-2A69-4DF1-A5F5-55513F724AE4}"/>
              </a:ext>
            </a:extLst>
          </p:cNvPr>
          <p:cNvSpPr/>
          <p:nvPr/>
        </p:nvSpPr>
        <p:spPr>
          <a:xfrm>
            <a:off x="8013700" y="2278063"/>
            <a:ext cx="534988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27" name="Flowchart: Connector 52">
            <a:extLst>
              <a:ext uri="{FF2B5EF4-FFF2-40B4-BE49-F238E27FC236}">
                <a16:creationId xmlns:a16="http://schemas.microsoft.com/office/drawing/2014/main" id="{6EE34CC0-986F-449F-A032-72B8BFBDA338}"/>
              </a:ext>
            </a:extLst>
          </p:cNvPr>
          <p:cNvSpPr/>
          <p:nvPr/>
        </p:nvSpPr>
        <p:spPr>
          <a:xfrm>
            <a:off x="6959600" y="1984375"/>
            <a:ext cx="534988" cy="534988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28" name="Flowchart: Connector 53">
            <a:extLst>
              <a:ext uri="{FF2B5EF4-FFF2-40B4-BE49-F238E27FC236}">
                <a16:creationId xmlns:a16="http://schemas.microsoft.com/office/drawing/2014/main" id="{A49A1184-999D-4482-BA54-83FF3A768084}"/>
              </a:ext>
            </a:extLst>
          </p:cNvPr>
          <p:cNvSpPr/>
          <p:nvPr/>
        </p:nvSpPr>
        <p:spPr>
          <a:xfrm>
            <a:off x="7399338" y="2289175"/>
            <a:ext cx="534987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9" name="Flowchart: Connector 58">
            <a:extLst>
              <a:ext uri="{FF2B5EF4-FFF2-40B4-BE49-F238E27FC236}">
                <a16:creationId xmlns:a16="http://schemas.microsoft.com/office/drawing/2014/main" id="{302620D9-7FF2-41EB-984D-5B269C73388F}"/>
              </a:ext>
            </a:extLst>
          </p:cNvPr>
          <p:cNvSpPr/>
          <p:nvPr/>
        </p:nvSpPr>
        <p:spPr>
          <a:xfrm>
            <a:off x="7573963" y="1200150"/>
            <a:ext cx="534987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 dirty="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30" name="Flowchart: Connector 60">
            <a:extLst>
              <a:ext uri="{FF2B5EF4-FFF2-40B4-BE49-F238E27FC236}">
                <a16:creationId xmlns:a16="http://schemas.microsoft.com/office/drawing/2014/main" id="{33A9653C-00D1-4A38-A3D4-4470469323B5}"/>
              </a:ext>
            </a:extLst>
          </p:cNvPr>
          <p:cNvSpPr/>
          <p:nvPr/>
        </p:nvSpPr>
        <p:spPr>
          <a:xfrm>
            <a:off x="6804025" y="2538413"/>
            <a:ext cx="534988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5</a:t>
            </a:r>
          </a:p>
        </p:txBody>
      </p:sp>
      <p:sp>
        <p:nvSpPr>
          <p:cNvPr id="31" name="Flowchart: Connector 56">
            <a:extLst>
              <a:ext uri="{FF2B5EF4-FFF2-40B4-BE49-F238E27FC236}">
                <a16:creationId xmlns:a16="http://schemas.microsoft.com/office/drawing/2014/main" id="{C5B08F8E-AEF5-4C2C-982D-5BADB172F1AD}"/>
              </a:ext>
            </a:extLst>
          </p:cNvPr>
          <p:cNvSpPr/>
          <p:nvPr/>
        </p:nvSpPr>
        <p:spPr>
          <a:xfrm>
            <a:off x="7646988" y="2001838"/>
            <a:ext cx="534987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 dirty="0">
                <a:solidFill>
                  <a:schemeClr val="tx1"/>
                </a:solidFill>
              </a:rPr>
              <a:t>17</a:t>
            </a:r>
          </a:p>
        </p:txBody>
      </p:sp>
    </p:spTree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6CBD072-37BE-407B-9BDE-44F4AE223FCE}"/>
              </a:ext>
            </a:extLst>
          </p:cNvPr>
          <p:cNvSpPr/>
          <p:nvPr/>
        </p:nvSpPr>
        <p:spPr>
          <a:xfrm>
            <a:off x="204788" y="49213"/>
            <a:ext cx="8004175" cy="430212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400" eaLnBrk="1" fontAlgn="auto" hangingPunct="1">
              <a:defRPr/>
            </a:pPr>
            <a:r>
              <a:rPr lang="sv-SE" sz="2200" kern="0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Riskanalys GSAB avseende förmåga att nå uppsatta mål 2022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0D8B8ECF-099A-4B58-9744-68A8A346EE11}"/>
              </a:ext>
            </a:extLst>
          </p:cNvPr>
          <p:cNvSpPr/>
          <p:nvPr/>
        </p:nvSpPr>
        <p:spPr>
          <a:xfrm>
            <a:off x="-30163" y="660400"/>
            <a:ext cx="9174163" cy="532765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defRPr/>
            </a:pPr>
            <a:endParaRPr lang="sv-SE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328276A-D0A3-4BE9-9258-C0EFB1F96E1D}"/>
              </a:ext>
            </a:extLst>
          </p:cNvPr>
          <p:cNvGraphicFramePr>
            <a:graphicFrameLocks noGrp="1"/>
          </p:cNvGraphicFramePr>
          <p:nvPr/>
        </p:nvGraphicFramePr>
        <p:xfrm>
          <a:off x="0" y="660400"/>
          <a:ext cx="4056063" cy="6007105"/>
        </p:xfrm>
        <a:graphic>
          <a:graphicData uri="http://schemas.openxmlformats.org/drawingml/2006/table">
            <a:tbl>
              <a:tblPr firstRow="1" bandRow="1"/>
              <a:tblGrid>
                <a:gridCol w="376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79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30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100" noProof="0">
                          <a:latin typeface="Arial" pitchFamily="34" charset="0"/>
                          <a:cs typeface="Arial" pitchFamily="34" charset="0"/>
                        </a:rPr>
                        <a:t>Id</a:t>
                      </a:r>
                    </a:p>
                  </a:txBody>
                  <a:tcPr marL="91426" marR="91426" marT="45719" marB="45719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sv-SE" sz="1100" noProof="0">
                          <a:latin typeface="Arial" pitchFamily="34" charset="0"/>
                          <a:cs typeface="Arial" pitchFamily="34" charset="0"/>
                        </a:rPr>
                        <a:t>Risk händelse</a:t>
                      </a:r>
                    </a:p>
                  </a:txBody>
                  <a:tcPr marL="91426" marR="91426" marT="45719" marB="45719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0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sv-SE" sz="1000" b="0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41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47678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0" noProof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47678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217">
                <a:tc>
                  <a:txBody>
                    <a:bodyPr/>
                    <a:lstStyle/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0" noProof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9282">
                <a:tc>
                  <a:txBody>
                    <a:bodyPr/>
                    <a:lstStyle/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0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92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sv-SE" sz="1000" b="0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0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0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24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1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92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0" noProof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92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1" noProof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759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1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1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024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0" kern="1200" noProof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92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2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endParaRPr lang="sv-SE" sz="1000" b="0" noProof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962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13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1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1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09282">
                <a:tc>
                  <a:txBody>
                    <a:bodyPr/>
                    <a:lstStyle/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1" noProof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09282">
                <a:tc>
                  <a:txBody>
                    <a:bodyPr/>
                    <a:lstStyle/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15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0" noProof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56979">
                <a:tc>
                  <a:txBody>
                    <a:bodyPr/>
                    <a:lstStyle/>
                    <a:p>
                      <a:pPr algn="ctr"/>
                      <a:r>
                        <a:rPr lang="sv-SE" sz="1000" b="0" noProof="0"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sv-SE" sz="1000" b="0" kern="1200" baseline="0" noProof="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6" marR="91426" marT="45719" marB="45719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pic>
        <p:nvPicPr>
          <p:cNvPr id="24639" name="Picture 1">
            <a:extLst>
              <a:ext uri="{FF2B5EF4-FFF2-40B4-BE49-F238E27FC236}">
                <a16:creationId xmlns:a16="http://schemas.microsoft.com/office/drawing/2014/main" id="{A148DA77-662E-40A8-9521-C49E8E0EC1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775" y="1049338"/>
            <a:ext cx="4803775" cy="3703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Flowchart: Connector 47">
            <a:extLst>
              <a:ext uri="{FF2B5EF4-FFF2-40B4-BE49-F238E27FC236}">
                <a16:creationId xmlns:a16="http://schemas.microsoft.com/office/drawing/2014/main" id="{D7AD8278-EADE-421C-93D7-CFA326CB4438}"/>
              </a:ext>
            </a:extLst>
          </p:cNvPr>
          <p:cNvSpPr/>
          <p:nvPr/>
        </p:nvSpPr>
        <p:spPr>
          <a:xfrm>
            <a:off x="5429250" y="5403850"/>
            <a:ext cx="534988" cy="534988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1</a:t>
            </a:r>
          </a:p>
        </p:txBody>
      </p:sp>
      <p:sp>
        <p:nvSpPr>
          <p:cNvPr id="51" name="Flowchart: Connector 50">
            <a:extLst>
              <a:ext uri="{FF2B5EF4-FFF2-40B4-BE49-F238E27FC236}">
                <a16:creationId xmlns:a16="http://schemas.microsoft.com/office/drawing/2014/main" id="{DDC6E636-0BF8-479D-A676-79CBAA272299}"/>
              </a:ext>
            </a:extLst>
          </p:cNvPr>
          <p:cNvSpPr/>
          <p:nvPr/>
        </p:nvSpPr>
        <p:spPr>
          <a:xfrm>
            <a:off x="4772025" y="4757738"/>
            <a:ext cx="534988" cy="534987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55" name="Flowchart: Connector 54">
            <a:extLst>
              <a:ext uri="{FF2B5EF4-FFF2-40B4-BE49-F238E27FC236}">
                <a16:creationId xmlns:a16="http://schemas.microsoft.com/office/drawing/2014/main" id="{8C1F8D4C-6EFD-450D-B5EE-2CF360045AB1}"/>
              </a:ext>
            </a:extLst>
          </p:cNvPr>
          <p:cNvSpPr/>
          <p:nvPr/>
        </p:nvSpPr>
        <p:spPr>
          <a:xfrm>
            <a:off x="6030913" y="4776788"/>
            <a:ext cx="534987" cy="534987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56" name="Flowchart: Connector 55">
            <a:extLst>
              <a:ext uri="{FF2B5EF4-FFF2-40B4-BE49-F238E27FC236}">
                <a16:creationId xmlns:a16="http://schemas.microsoft.com/office/drawing/2014/main" id="{8498771F-90C4-42AC-BCBA-B95D847BD1F3}"/>
              </a:ext>
            </a:extLst>
          </p:cNvPr>
          <p:cNvSpPr/>
          <p:nvPr/>
        </p:nvSpPr>
        <p:spPr>
          <a:xfrm>
            <a:off x="4206875" y="4735513"/>
            <a:ext cx="534988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57" name="Flowchart: Connector 56">
            <a:extLst>
              <a:ext uri="{FF2B5EF4-FFF2-40B4-BE49-F238E27FC236}">
                <a16:creationId xmlns:a16="http://schemas.microsoft.com/office/drawing/2014/main" id="{3543B51F-8D4F-4EFA-946D-168A2C31DF90}"/>
              </a:ext>
            </a:extLst>
          </p:cNvPr>
          <p:cNvSpPr/>
          <p:nvPr/>
        </p:nvSpPr>
        <p:spPr>
          <a:xfrm>
            <a:off x="8405813" y="5364163"/>
            <a:ext cx="534987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6</a:t>
            </a:r>
          </a:p>
        </p:txBody>
      </p:sp>
      <p:sp>
        <p:nvSpPr>
          <p:cNvPr id="58" name="Flowchart: Connector 57">
            <a:extLst>
              <a:ext uri="{FF2B5EF4-FFF2-40B4-BE49-F238E27FC236}">
                <a16:creationId xmlns:a16="http://schemas.microsoft.com/office/drawing/2014/main" id="{AF8AAEEE-CDD8-4AC9-B5C2-98DA9D6CAD97}"/>
              </a:ext>
            </a:extLst>
          </p:cNvPr>
          <p:cNvSpPr/>
          <p:nvPr/>
        </p:nvSpPr>
        <p:spPr>
          <a:xfrm>
            <a:off x="7251700" y="4757738"/>
            <a:ext cx="534988" cy="534987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60" name="Flowchart: Connector 59">
            <a:extLst>
              <a:ext uri="{FF2B5EF4-FFF2-40B4-BE49-F238E27FC236}">
                <a16:creationId xmlns:a16="http://schemas.microsoft.com/office/drawing/2014/main" id="{8943F04E-89D8-47FE-A2E3-05926B8956C2}"/>
              </a:ext>
            </a:extLst>
          </p:cNvPr>
          <p:cNvSpPr/>
          <p:nvPr/>
        </p:nvSpPr>
        <p:spPr>
          <a:xfrm>
            <a:off x="6072188" y="5383213"/>
            <a:ext cx="534987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 dirty="0">
                <a:solidFill>
                  <a:schemeClr val="tx1"/>
                </a:solidFill>
              </a:rPr>
              <a:t>12</a:t>
            </a:r>
          </a:p>
        </p:txBody>
      </p:sp>
      <p:sp>
        <p:nvSpPr>
          <p:cNvPr id="23" name="Flowchart: Connector 56">
            <a:extLst>
              <a:ext uri="{FF2B5EF4-FFF2-40B4-BE49-F238E27FC236}">
                <a16:creationId xmlns:a16="http://schemas.microsoft.com/office/drawing/2014/main" id="{21C42D52-2184-4C81-9C2B-16D62EEE32FE}"/>
              </a:ext>
            </a:extLst>
          </p:cNvPr>
          <p:cNvSpPr/>
          <p:nvPr/>
        </p:nvSpPr>
        <p:spPr>
          <a:xfrm>
            <a:off x="5330825" y="4772025"/>
            <a:ext cx="534988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2" name="Flowchart: Connector 3">
            <a:extLst>
              <a:ext uri="{FF2B5EF4-FFF2-40B4-BE49-F238E27FC236}">
                <a16:creationId xmlns:a16="http://schemas.microsoft.com/office/drawing/2014/main" id="{7848ACE8-C2F6-49FE-B0E9-BBECBBC2F05C}"/>
              </a:ext>
            </a:extLst>
          </p:cNvPr>
          <p:cNvSpPr/>
          <p:nvPr/>
        </p:nvSpPr>
        <p:spPr>
          <a:xfrm>
            <a:off x="7219950" y="5394325"/>
            <a:ext cx="534988" cy="508000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24" name="Flowchart: Connector 48">
            <a:extLst>
              <a:ext uri="{FF2B5EF4-FFF2-40B4-BE49-F238E27FC236}">
                <a16:creationId xmlns:a16="http://schemas.microsoft.com/office/drawing/2014/main" id="{FDFCCC78-EFE5-4B75-9DD6-EE0C294E9FB0}"/>
              </a:ext>
            </a:extLst>
          </p:cNvPr>
          <p:cNvSpPr/>
          <p:nvPr/>
        </p:nvSpPr>
        <p:spPr>
          <a:xfrm>
            <a:off x="8429625" y="4745038"/>
            <a:ext cx="533400" cy="534987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25" name="Flowchart: Connector 49">
            <a:extLst>
              <a:ext uri="{FF2B5EF4-FFF2-40B4-BE49-F238E27FC236}">
                <a16:creationId xmlns:a16="http://schemas.microsoft.com/office/drawing/2014/main" id="{FDCFC68E-43E5-480E-95E6-05BA3E85AD54}"/>
              </a:ext>
            </a:extLst>
          </p:cNvPr>
          <p:cNvSpPr/>
          <p:nvPr/>
        </p:nvSpPr>
        <p:spPr>
          <a:xfrm>
            <a:off x="6634163" y="4779963"/>
            <a:ext cx="534987" cy="534987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6" name="Flowchart: Connector 51">
            <a:extLst>
              <a:ext uri="{FF2B5EF4-FFF2-40B4-BE49-F238E27FC236}">
                <a16:creationId xmlns:a16="http://schemas.microsoft.com/office/drawing/2014/main" id="{A2F9D9E9-AC14-4941-B027-270D8789B4DD}"/>
              </a:ext>
            </a:extLst>
          </p:cNvPr>
          <p:cNvSpPr/>
          <p:nvPr/>
        </p:nvSpPr>
        <p:spPr>
          <a:xfrm>
            <a:off x="6646863" y="5383213"/>
            <a:ext cx="534987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3</a:t>
            </a:r>
          </a:p>
        </p:txBody>
      </p:sp>
      <p:sp>
        <p:nvSpPr>
          <p:cNvPr id="27" name="Flowchart: Connector 52">
            <a:extLst>
              <a:ext uri="{FF2B5EF4-FFF2-40B4-BE49-F238E27FC236}">
                <a16:creationId xmlns:a16="http://schemas.microsoft.com/office/drawing/2014/main" id="{7D3AE403-E16D-4BFD-93B5-F89FE9230335}"/>
              </a:ext>
            </a:extLst>
          </p:cNvPr>
          <p:cNvSpPr/>
          <p:nvPr/>
        </p:nvSpPr>
        <p:spPr>
          <a:xfrm>
            <a:off x="4808538" y="5403850"/>
            <a:ext cx="534987" cy="534988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0</a:t>
            </a:r>
          </a:p>
        </p:txBody>
      </p:sp>
      <p:sp>
        <p:nvSpPr>
          <p:cNvPr id="28" name="Flowchart: Connector 53">
            <a:extLst>
              <a:ext uri="{FF2B5EF4-FFF2-40B4-BE49-F238E27FC236}">
                <a16:creationId xmlns:a16="http://schemas.microsoft.com/office/drawing/2014/main" id="{3ACC5E7C-E3F7-411D-AB7E-907C61EC6698}"/>
              </a:ext>
            </a:extLst>
          </p:cNvPr>
          <p:cNvSpPr/>
          <p:nvPr/>
        </p:nvSpPr>
        <p:spPr>
          <a:xfrm>
            <a:off x="7845425" y="4735513"/>
            <a:ext cx="534988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9" name="Flowchart: Connector 58">
            <a:extLst>
              <a:ext uri="{FF2B5EF4-FFF2-40B4-BE49-F238E27FC236}">
                <a16:creationId xmlns:a16="http://schemas.microsoft.com/office/drawing/2014/main" id="{C67381F3-379B-4D1C-8755-B63F543A4E28}"/>
              </a:ext>
            </a:extLst>
          </p:cNvPr>
          <p:cNvSpPr/>
          <p:nvPr/>
        </p:nvSpPr>
        <p:spPr>
          <a:xfrm>
            <a:off x="4173538" y="5372100"/>
            <a:ext cx="534987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30" name="Flowchart: Connector 60">
            <a:extLst>
              <a:ext uri="{FF2B5EF4-FFF2-40B4-BE49-F238E27FC236}">
                <a16:creationId xmlns:a16="http://schemas.microsoft.com/office/drawing/2014/main" id="{4232431D-9728-4ABD-BAF6-63864B408C0D}"/>
              </a:ext>
            </a:extLst>
          </p:cNvPr>
          <p:cNvSpPr/>
          <p:nvPr/>
        </p:nvSpPr>
        <p:spPr>
          <a:xfrm>
            <a:off x="7804150" y="5380038"/>
            <a:ext cx="534988" cy="536575"/>
          </a:xfrm>
          <a:prstGeom prst="flowChartConnector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sv-SE" sz="1000">
                <a:solidFill>
                  <a:schemeClr val="tx1"/>
                </a:solidFill>
              </a:rPr>
              <a:t>15</a:t>
            </a:r>
          </a:p>
        </p:txBody>
      </p:sp>
    </p:spTree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OC5yXrEC7iKwqmBVB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DN4OReJESubX8gonlS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PqhKASxkObQlEAigvh.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PqhKASxkObQlEAigvh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s7HhOBDEqyXBGZaWHf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bd62pCoUSrDuXC8JKB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NiWEbXy0e_OUW7UHDy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.9mmVERkumj7U31zQh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ShMaN0kuabHV4Gzwm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spfHPLkyVslvFiFwfR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JLYxTqGUOPnC7YQ31P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bSTv0EFkmCi0HFI7iN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QXlyy6RUOjqfbC_4qv0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0byBX14ke5QOnc7JNw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WUPjHUKkmEoID2BpFf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Y4UqCu2EStT0uombtf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66RleOS06bflpz5WVr_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Q7kI4hEEuOD39I6.CNh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DCuP._QUew3Li_vUu.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Mn7W2470aUGbn306Z4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D2zg_HRUugBajfo.l6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tO4b0Em0qvtO3wFzi5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bDaajXSUuavFmwb_24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57GpX.0SPCuV59M5S3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s7HhOBDEqyXBGZaWHfe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dFwOrEykelwQvTDuI0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Isl48Nr0unJ9tNrLl4s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bDaajXSUuavFmwb_24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s7HhOBDEqyXBGZaWHfe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57GpX.0SPCuV59M5S3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s7HhOBDEqyXBGZaWHfe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OC5yXrEC7iKwqmBVB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DN4OReJESubX8gonlSz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PqhKASxkObQlEAigvh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wVmk75kSKyV1I0Mc9q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PqhKASxkObQlEAigvh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57GpX.0SPCuV59M5S3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LFFYfRM0GOf52PFEvns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s7HhOBDEqyXBGZaWHfe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bd62pCoUSrDuXC8JKBY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NiWEbXy0e_OUW7UHDyf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.9mmVERkumj7U31zQht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OShMaN0kuabHV4Gzwmi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spfHPLkyVslvFiFwfR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JLYxTqGUOPnC7YQ31P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bSTv0EFkmCi0HFI7iN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mclMY7VUi8cOeK9Rr1E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QXlyy6RUOjqfbC_4qv0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0byBX14ke5QOnc7JNw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WUPjHUKkmEoID2BpFfJ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Y4UqCu2EStT0uombtf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66RleOS06bflpz5WVr_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Q7kI4hEEuOD39I6.CNh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DCuP._QUew3Li_vUu.C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Mn7W2470aUGbn306Z4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nJ.u6_7UWDtaYNqA0Tb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D2zg_HRUugBajfo.l6Q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tO4b0Em0qvtO3wFzi5J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57GpX.0SPCuV59M5S3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s7HhOBDEqyXBGZaWHf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oncerngemensam ppt mall 130830">
  <a:themeElements>
    <a:clrScheme name="GS_TEMA">
      <a:dk1>
        <a:sysClr val="windowText" lastClr="000000"/>
      </a:dk1>
      <a:lt1>
        <a:sysClr val="window" lastClr="FFFFFF"/>
      </a:lt1>
      <a:dk2>
        <a:srgbClr val="8AC2E6"/>
      </a:dk2>
      <a:lt2>
        <a:srgbClr val="E5E5E5"/>
      </a:lt2>
      <a:accent1>
        <a:srgbClr val="8AC2E6"/>
      </a:accent1>
      <a:accent2>
        <a:srgbClr val="FDC600"/>
      </a:accent2>
      <a:accent3>
        <a:srgbClr val="E2001A"/>
      </a:accent3>
      <a:accent4>
        <a:srgbClr val="B7B9BA"/>
      </a:accent4>
      <a:accent5>
        <a:srgbClr val="ACD3EB"/>
      </a:accent5>
      <a:accent6>
        <a:srgbClr val="CACCCD"/>
      </a:accent6>
      <a:hlink>
        <a:srgbClr val="00458A"/>
      </a:hlink>
      <a:folHlink>
        <a:srgbClr val="800080"/>
      </a:folHlink>
    </a:clrScheme>
    <a:fontScheme name="GS-Teckensnitt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t" anchorCtr="0">
        <a:noAutofit/>
      </a:bodyPr>
      <a:lstStyle>
        <a:defPPr marL="0" marR="0" indent="0" algn="l" defTabSz="457200" rtl="0" eaLnBrk="1" fontAlgn="auto" latinLnBrk="0" hangingPunct="1">
          <a:lnSpc>
            <a:spcPts val="44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4400" b="0" i="0" u="none" strike="noStrike" kern="1200" cap="none" spc="0" normalizeH="0" baseline="0" noProof="0" dirty="0" smtClean="0">
            <a:ln>
              <a:noFill/>
            </a:ln>
            <a:solidFill>
              <a:srgbClr val="00458A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SM-template-20140529">
  <a:themeElements>
    <a:clrScheme name="Custom 1">
      <a:dk1>
        <a:srgbClr val="333333"/>
      </a:dk1>
      <a:lt1>
        <a:sysClr val="window" lastClr="FFFFFF"/>
      </a:lt1>
      <a:dk2>
        <a:srgbClr val="666666"/>
      </a:dk2>
      <a:lt2>
        <a:srgbClr val="EEECE1"/>
      </a:lt2>
      <a:accent1>
        <a:srgbClr val="8BAB42"/>
      </a:accent1>
      <a:accent2>
        <a:srgbClr val="CCCCCC"/>
      </a:accent2>
      <a:accent3>
        <a:srgbClr val="60574C"/>
      </a:accent3>
      <a:accent4>
        <a:srgbClr val="31859C"/>
      </a:accent4>
      <a:accent5>
        <a:srgbClr val="A8BC33"/>
      </a:accent5>
      <a:accent6>
        <a:srgbClr val="FFFFFF"/>
      </a:accent6>
      <a:hlink>
        <a:srgbClr val="31859C"/>
      </a:hlink>
      <a:folHlink>
        <a:srgbClr val="31859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Response Summary">
  <a:themeElements>
    <a:clrScheme name="Custom 1">
      <a:dk1>
        <a:srgbClr val="333333"/>
      </a:dk1>
      <a:lt1>
        <a:sysClr val="window" lastClr="FFFFFF"/>
      </a:lt1>
      <a:dk2>
        <a:srgbClr val="666666"/>
      </a:dk2>
      <a:lt2>
        <a:srgbClr val="EEECE1"/>
      </a:lt2>
      <a:accent1>
        <a:srgbClr val="8BAB42"/>
      </a:accent1>
      <a:accent2>
        <a:srgbClr val="CCCCCC"/>
      </a:accent2>
      <a:accent3>
        <a:srgbClr val="60574C"/>
      </a:accent3>
      <a:accent4>
        <a:srgbClr val="31859C"/>
      </a:accent4>
      <a:accent5>
        <a:srgbClr val="A8BC33"/>
      </a:accent5>
      <a:accent6>
        <a:srgbClr val="FFFFFF"/>
      </a:accent6>
      <a:hlink>
        <a:srgbClr val="31859C"/>
      </a:hlink>
      <a:folHlink>
        <a:srgbClr val="3185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Data slides">
  <a:themeElements>
    <a:clrScheme name="Custom 1">
      <a:dk1>
        <a:srgbClr val="333333"/>
      </a:dk1>
      <a:lt1>
        <a:sysClr val="window" lastClr="FFFFFF"/>
      </a:lt1>
      <a:dk2>
        <a:srgbClr val="666666"/>
      </a:dk2>
      <a:lt2>
        <a:srgbClr val="EEECE1"/>
      </a:lt2>
      <a:accent1>
        <a:srgbClr val="8BAB42"/>
      </a:accent1>
      <a:accent2>
        <a:srgbClr val="CCCCCC"/>
      </a:accent2>
      <a:accent3>
        <a:srgbClr val="60574C"/>
      </a:accent3>
      <a:accent4>
        <a:srgbClr val="31859C"/>
      </a:accent4>
      <a:accent5>
        <a:srgbClr val="A8BC33"/>
      </a:accent5>
      <a:accent6>
        <a:srgbClr val="FFFFFF"/>
      </a:accent6>
      <a:hlink>
        <a:srgbClr val="31859C"/>
      </a:hlink>
      <a:folHlink>
        <a:srgbClr val="3185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BBD_PPT_Template_FINAL_EN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BBD_PPT_Template_FINAL_EN">
  <a:themeElements>
    <a:clrScheme name="Bombardier">
      <a:dk1>
        <a:sysClr val="windowText" lastClr="000000"/>
      </a:dk1>
      <a:lt1>
        <a:sysClr val="window" lastClr="FFFFFF"/>
      </a:lt1>
      <a:dk2>
        <a:srgbClr val="131E29"/>
      </a:dk2>
      <a:lt2>
        <a:srgbClr val="DCE5E4"/>
      </a:lt2>
      <a:accent1>
        <a:srgbClr val="8996A0"/>
      </a:accent1>
      <a:accent2>
        <a:srgbClr val="7A9A01"/>
      </a:accent2>
      <a:accent3>
        <a:srgbClr val="19365D"/>
      </a:accent3>
      <a:accent4>
        <a:srgbClr val="CA7700"/>
      </a:accent4>
      <a:accent5>
        <a:srgbClr val="D50032"/>
      </a:accent5>
      <a:accent6>
        <a:srgbClr val="A69F88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GBG-Stad-Mall_enkel_BLA_SV_wide">
  <a:themeElements>
    <a:clrScheme name="GBG-stad-färgtema">
      <a:dk1>
        <a:srgbClr val="575757"/>
      </a:dk1>
      <a:lt1>
        <a:sysClr val="window" lastClr="FFFFFF"/>
      </a:lt1>
      <a:dk2>
        <a:srgbClr val="575757"/>
      </a:dk2>
      <a:lt2>
        <a:srgbClr val="FFFFFF"/>
      </a:lt2>
      <a:accent1>
        <a:srgbClr val="1475B8"/>
      </a:accent1>
      <a:accent2>
        <a:srgbClr val="F18700"/>
      </a:accent2>
      <a:accent3>
        <a:srgbClr val="9DCBCD"/>
      </a:accent3>
      <a:accent4>
        <a:srgbClr val="727BA0"/>
      </a:accent4>
      <a:accent5>
        <a:srgbClr val="BD0066"/>
      </a:accent5>
      <a:accent6>
        <a:srgbClr val="C1C12A"/>
      </a:accent6>
      <a:hlink>
        <a:srgbClr val="1475B8"/>
      </a:hlink>
      <a:folHlink>
        <a:srgbClr val="9DCBCD"/>
      </a:folHlink>
    </a:clrScheme>
    <a:fontScheme name="GBG-Stad-teckensnit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b="1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9" id="{3DFE1997-FF0B-40A8-8BF8-673F5291433C}" vid="{BE466D98-0094-4FB5-A7E1-3F1935CC6440}"/>
    </a:ext>
  </a:extLst>
</a:theme>
</file>

<file path=ppt/theme/theme5.xml><?xml version="1.0" encoding="utf-8"?>
<a:theme xmlns:a="http://schemas.openxmlformats.org/drawingml/2006/main" name="Tema från Analytics Slides 170524 från Grunditz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FFE600"/>
      </a:accent1>
      <a:accent2>
        <a:srgbClr val="80808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Tema från Analytics Slides 170524 från Grunditz" id="{007579BD-8A6C-4B6B-BC38-9EFE5A3E67D6}" vid="{C9CC13F0-461D-427C-A7A7-4C63956DF75A}"/>
    </a:ext>
  </a:extLst>
</a:theme>
</file>

<file path=ppt/theme/theme6.xml><?xml version="1.0" encoding="utf-8"?>
<a:theme xmlns:a="http://schemas.openxmlformats.org/drawingml/2006/main" name="Göteborgs Stad – Blå dekor">
  <a:themeElements>
    <a:clrScheme name="Göteborgs Stad mörka">
      <a:dk1>
        <a:sysClr val="windowText" lastClr="000000"/>
      </a:dk1>
      <a:lt1>
        <a:sysClr val="window" lastClr="FFFFFF"/>
      </a:lt1>
      <a:dk2>
        <a:srgbClr val="3F5564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767"/>
      </a:accent5>
      <a:accent6>
        <a:srgbClr val="674B99"/>
      </a:accent6>
      <a:hlink>
        <a:srgbClr val="0563C1"/>
      </a:hlink>
      <a:folHlink>
        <a:srgbClr val="954F72"/>
      </a:folHlink>
    </a:clrScheme>
    <a:fontScheme name="Göteborgs Stad Powerpoint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16_9.sv-SE.potx" id="{CEC1BE5D-A4E3-446B-B938-C51B58685301}" vid="{A780EF4F-041D-4E92-8E0B-C6B33C409E65}"/>
    </a:ext>
  </a:extLst>
</a:theme>
</file>

<file path=ppt/theme/theme7.xml><?xml version="1.0" encoding="utf-8"?>
<a:theme xmlns:a="http://schemas.openxmlformats.org/drawingml/2006/main" name="Göteborgs Stad – Lila dekor">
  <a:themeElements>
    <a:clrScheme name="Göteborgs Stad mörka">
      <a:dk1>
        <a:sysClr val="windowText" lastClr="000000"/>
      </a:dk1>
      <a:lt1>
        <a:sysClr val="window" lastClr="FFFFFF"/>
      </a:lt1>
      <a:dk2>
        <a:srgbClr val="3F5564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767"/>
      </a:accent5>
      <a:accent6>
        <a:srgbClr val="674B99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andard 16_9.sv-SE.potx" id="{CEC1BE5D-A4E3-446B-B938-C51B58685301}" vid="{0B6D1EB7-5461-4125-80A6-D2FDBBE7C78B}"/>
    </a:ext>
  </a:extLst>
</a:theme>
</file>

<file path=ppt/theme/theme8.xml><?xml version="1.0" encoding="utf-8"?>
<a:theme xmlns:a="http://schemas.openxmlformats.org/drawingml/2006/main" name="1_Tema från Analytics Slides 170524 från Grunditz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FFE600"/>
      </a:accent1>
      <a:accent2>
        <a:srgbClr val="80808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Tema från Analytics Slides 170524 från Grunditz" id="{007579BD-8A6C-4B6B-BC38-9EFE5A3E67D6}" vid="{C9CC13F0-461D-427C-A7A7-4C63956DF75A}"/>
    </a:ext>
  </a:extLst>
</a:theme>
</file>

<file path=ppt/theme/theme9.xml><?xml version="1.0" encoding="utf-8"?>
<a:theme xmlns:a="http://schemas.openxmlformats.org/drawingml/2006/main" name="BT PPT 2018">
  <a:themeElements>
    <a:clrScheme name="Bombardier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5EA6"/>
      </a:accent1>
      <a:accent2>
        <a:srgbClr val="387088"/>
      </a:accent2>
      <a:accent3>
        <a:srgbClr val="153E8C"/>
      </a:accent3>
      <a:accent4>
        <a:srgbClr val="E46E17"/>
      </a:accent4>
      <a:accent5>
        <a:srgbClr val="DE1E65"/>
      </a:accent5>
      <a:accent6>
        <a:srgbClr val="AB9E99"/>
      </a:accent6>
      <a:hlink>
        <a:srgbClr val="AB9E99"/>
      </a:hlink>
      <a:folHlink>
        <a:srgbClr val="AB9E99"/>
      </a:folHlink>
    </a:clrScheme>
    <a:fontScheme name="Bombardi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8768"/>
        </a:solidFill>
        <a:ln>
          <a:noFill/>
        </a:ln>
      </a:spPr>
      <a:bodyPr lIns="72000" tIns="54000" rIns="36000" bIns="72000" rtlCol="0" anchor="t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custClrLst>
    <a:custClr name="Vibrant yellow">
      <a:srgbClr val="F1D61F"/>
    </a:custClr>
    <a:custClr name="Proud green">
      <a:srgbClr val="008768"/>
    </a:custClr>
    <a:custClr name="Deep ink">
      <a:srgbClr val="2D3750"/>
    </a:custClr>
  </a:custClrLst>
  <a:extLst>
    <a:ext uri="{05A4C25C-085E-4340-85A3-A5531E510DB2}">
      <thm15:themeFamily xmlns:thm15="http://schemas.microsoft.com/office/thememl/2012/main" name="BTK Status report 11 June 2019 - To GS + Presented in meeting" id="{CFF1BE00-00AE-41E8-B673-E48D97D15B22}" vid="{1C515ABD-48E6-41F9-ACD1-57EF874DF06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8</TotalTime>
  <Words>275</Words>
  <Application>Microsoft Office PowerPoint</Application>
  <PresentationFormat>Bildspel på skärmen (4:3)</PresentationFormat>
  <Paragraphs>93</Paragraphs>
  <Slides>2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11</vt:i4>
      </vt:variant>
      <vt:variant>
        <vt:lpstr>Tema</vt:lpstr>
      </vt:variant>
      <vt:variant>
        <vt:i4>14</vt:i4>
      </vt:variant>
      <vt:variant>
        <vt:lpstr>Serverprogram för OLE-inbäddning</vt:lpstr>
      </vt:variant>
      <vt:variant>
        <vt:i4>2</vt:i4>
      </vt:variant>
      <vt:variant>
        <vt:lpstr>Bildrubriker</vt:lpstr>
      </vt:variant>
      <vt:variant>
        <vt:i4>2</vt:i4>
      </vt:variant>
    </vt:vector>
  </HeadingPairs>
  <TitlesOfParts>
    <vt:vector size="29" baseType="lpstr">
      <vt:lpstr>Arial</vt:lpstr>
      <vt:lpstr>Arial Black</vt:lpstr>
      <vt:lpstr>Calibri</vt:lpstr>
      <vt:lpstr>Calibri Light</vt:lpstr>
      <vt:lpstr>EYInterstate</vt:lpstr>
      <vt:lpstr>EYInterstate Light</vt:lpstr>
      <vt:lpstr>Franklin Gothic Book</vt:lpstr>
      <vt:lpstr>Franklin Gothic Demi</vt:lpstr>
      <vt:lpstr>Helvetica Neue</vt:lpstr>
      <vt:lpstr>Symbol</vt:lpstr>
      <vt:lpstr>Wingdings</vt:lpstr>
      <vt:lpstr>koncerngemensam ppt mall 130830</vt:lpstr>
      <vt:lpstr>3_BBD_PPT_Template_FINAL_EN</vt:lpstr>
      <vt:lpstr>4_BBD_PPT_Template_FINAL_EN</vt:lpstr>
      <vt:lpstr>GBG-Stad-Mall_enkel_BLA_SV_wide</vt:lpstr>
      <vt:lpstr>Tema från Analytics Slides 170524 från Grunditz</vt:lpstr>
      <vt:lpstr>Göteborgs Stad – Blå dekor</vt:lpstr>
      <vt:lpstr>Göteborgs Stad – Lila dekor</vt:lpstr>
      <vt:lpstr>1_Tema från Analytics Slides 170524 från Grunditz</vt:lpstr>
      <vt:lpstr>BT PPT 2018</vt:lpstr>
      <vt:lpstr>SM-template-20140529</vt:lpstr>
      <vt:lpstr>Response Summary</vt:lpstr>
      <vt:lpstr>Data slides</vt:lpstr>
      <vt:lpstr>1_Custom Design</vt:lpstr>
      <vt:lpstr>Custom Design</vt:lpstr>
      <vt:lpstr>think-cell Slide</vt:lpstr>
      <vt:lpstr>think-cell Folie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yrelsemöte 26 maj 2021</dc:title>
  <dc:creator>Frida Hagenius</dc:creator>
  <cp:lastModifiedBy>Frida Hagenius</cp:lastModifiedBy>
  <cp:revision>58</cp:revision>
  <dcterms:created xsi:type="dcterms:W3CDTF">2021-05-26T09:44:18Z</dcterms:created>
  <dcterms:modified xsi:type="dcterms:W3CDTF">2021-11-24T13:39:28Z</dcterms:modified>
</cp:coreProperties>
</file>